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2" r:id="rId4"/>
  </p:sldMasterIdLst>
  <p:notesMasterIdLst>
    <p:notesMasterId r:id="rId29"/>
  </p:notesMasterIdLst>
  <p:handoutMasterIdLst>
    <p:handoutMasterId r:id="rId30"/>
  </p:handoutMasterIdLst>
  <p:sldIdLst>
    <p:sldId id="1410" r:id="rId5"/>
    <p:sldId id="1411" r:id="rId6"/>
    <p:sldId id="1413" r:id="rId7"/>
    <p:sldId id="1414" r:id="rId8"/>
    <p:sldId id="1436" r:id="rId9"/>
    <p:sldId id="1415" r:id="rId10"/>
    <p:sldId id="1416" r:id="rId11"/>
    <p:sldId id="1417" r:id="rId12"/>
    <p:sldId id="1418" r:id="rId13"/>
    <p:sldId id="1433" r:id="rId14"/>
    <p:sldId id="1420" r:id="rId15"/>
    <p:sldId id="1421" r:id="rId16"/>
    <p:sldId id="1422" r:id="rId17"/>
    <p:sldId id="1434" r:id="rId18"/>
    <p:sldId id="1424" r:id="rId19"/>
    <p:sldId id="1425" r:id="rId20"/>
    <p:sldId id="1426" r:id="rId21"/>
    <p:sldId id="1427" r:id="rId22"/>
    <p:sldId id="1428" r:id="rId23"/>
    <p:sldId id="1429" r:id="rId24"/>
    <p:sldId id="1430" r:id="rId25"/>
    <p:sldId id="1431" r:id="rId26"/>
    <p:sldId id="1432" r:id="rId27"/>
    <p:sldId id="1435" r:id="rId28"/>
  </p:sldIdLst>
  <p:sldSz cx="9144000" cy="5143500" type="screen16x9"/>
  <p:notesSz cx="6858000" cy="9296400"/>
  <p:defaultTextStyle>
    <a:defPPr>
      <a:defRPr lang="en-US"/>
    </a:defPPr>
    <a:lvl1pPr algn="l" rtl="0" fontAlgn="base">
      <a:spcBef>
        <a:spcPct val="0"/>
      </a:spcBef>
      <a:spcAft>
        <a:spcPct val="0"/>
      </a:spcAft>
      <a:defRPr sz="2800" kern="1200">
        <a:solidFill>
          <a:schemeClr val="tx1"/>
        </a:solidFill>
        <a:latin typeface="Arial" charset="0"/>
        <a:ea typeface="+mn-ea"/>
        <a:cs typeface="+mn-cs"/>
      </a:defRPr>
    </a:lvl1pPr>
    <a:lvl2pPr marL="457200" algn="l" rtl="0" fontAlgn="base">
      <a:spcBef>
        <a:spcPct val="0"/>
      </a:spcBef>
      <a:spcAft>
        <a:spcPct val="0"/>
      </a:spcAft>
      <a:defRPr sz="2800" kern="1200">
        <a:solidFill>
          <a:schemeClr val="tx1"/>
        </a:solidFill>
        <a:latin typeface="Arial" charset="0"/>
        <a:ea typeface="+mn-ea"/>
        <a:cs typeface="+mn-cs"/>
      </a:defRPr>
    </a:lvl2pPr>
    <a:lvl3pPr marL="914400" algn="l" rtl="0" fontAlgn="base">
      <a:spcBef>
        <a:spcPct val="0"/>
      </a:spcBef>
      <a:spcAft>
        <a:spcPct val="0"/>
      </a:spcAft>
      <a:defRPr sz="2800" kern="1200">
        <a:solidFill>
          <a:schemeClr val="tx1"/>
        </a:solidFill>
        <a:latin typeface="Arial" charset="0"/>
        <a:ea typeface="+mn-ea"/>
        <a:cs typeface="+mn-cs"/>
      </a:defRPr>
    </a:lvl3pPr>
    <a:lvl4pPr marL="1371600" algn="l" rtl="0" fontAlgn="base">
      <a:spcBef>
        <a:spcPct val="0"/>
      </a:spcBef>
      <a:spcAft>
        <a:spcPct val="0"/>
      </a:spcAft>
      <a:defRPr sz="2800" kern="1200">
        <a:solidFill>
          <a:schemeClr val="tx1"/>
        </a:solidFill>
        <a:latin typeface="Arial" charset="0"/>
        <a:ea typeface="+mn-ea"/>
        <a:cs typeface="+mn-cs"/>
      </a:defRPr>
    </a:lvl4pPr>
    <a:lvl5pPr marL="1828800" algn="l" rtl="0" fontAlgn="base">
      <a:spcBef>
        <a:spcPct val="0"/>
      </a:spcBef>
      <a:spcAft>
        <a:spcPct val="0"/>
      </a:spcAft>
      <a:defRPr sz="2800" kern="1200">
        <a:solidFill>
          <a:schemeClr val="tx1"/>
        </a:solidFill>
        <a:latin typeface="Arial" charset="0"/>
        <a:ea typeface="+mn-ea"/>
        <a:cs typeface="+mn-cs"/>
      </a:defRPr>
    </a:lvl5pPr>
    <a:lvl6pPr marL="2286000" algn="l" defTabSz="914400" rtl="0" eaLnBrk="1" latinLnBrk="0" hangingPunct="1">
      <a:defRPr sz="2800" kern="1200">
        <a:solidFill>
          <a:schemeClr val="tx1"/>
        </a:solidFill>
        <a:latin typeface="Arial" charset="0"/>
        <a:ea typeface="+mn-ea"/>
        <a:cs typeface="+mn-cs"/>
      </a:defRPr>
    </a:lvl6pPr>
    <a:lvl7pPr marL="2743200" algn="l" defTabSz="914400" rtl="0" eaLnBrk="1" latinLnBrk="0" hangingPunct="1">
      <a:defRPr sz="2800" kern="1200">
        <a:solidFill>
          <a:schemeClr val="tx1"/>
        </a:solidFill>
        <a:latin typeface="Arial" charset="0"/>
        <a:ea typeface="+mn-ea"/>
        <a:cs typeface="+mn-cs"/>
      </a:defRPr>
    </a:lvl7pPr>
    <a:lvl8pPr marL="3200400" algn="l" defTabSz="914400" rtl="0" eaLnBrk="1" latinLnBrk="0" hangingPunct="1">
      <a:defRPr sz="2800" kern="1200">
        <a:solidFill>
          <a:schemeClr val="tx1"/>
        </a:solidFill>
        <a:latin typeface="Arial" charset="0"/>
        <a:ea typeface="+mn-ea"/>
        <a:cs typeface="+mn-cs"/>
      </a:defRPr>
    </a:lvl8pPr>
    <a:lvl9pPr marL="3657600" algn="l" defTabSz="914400" rtl="0" eaLnBrk="1" latinLnBrk="0" hangingPunct="1">
      <a:defRPr sz="28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cKenna, Megan" initials="MM" lastIdx="1" clrIdx="6">
    <p:extLst/>
  </p:cmAuthor>
  <p:cmAuthor id="1" name="Harmeling, John" initials="HJ" lastIdx="66" clrIdx="0">
    <p:extLst/>
  </p:cmAuthor>
  <p:cmAuthor id="8" name="Adkins, Elizabeth" initials="AE" lastIdx="5" clrIdx="7">
    <p:extLst>
      <p:ext uri="{19B8F6BF-5375-455C-9EA6-DF929625EA0E}">
        <p15:presenceInfo xmlns:p15="http://schemas.microsoft.com/office/powerpoint/2012/main" userId="S-1-5-21-507921405-362288127-725345543-275530" providerId="AD"/>
      </p:ext>
    </p:extLst>
  </p:cmAuthor>
  <p:cmAuthor id="2" name="Cate Downes" initials="" lastIdx="1" clrIdx="1"/>
  <p:cmAuthor id="9" name="Rendino (Smiley), Taylor" initials="RT" lastIdx="1" clrIdx="8">
    <p:extLst>
      <p:ext uri="{19B8F6BF-5375-455C-9EA6-DF929625EA0E}">
        <p15:presenceInfo xmlns:p15="http://schemas.microsoft.com/office/powerpoint/2012/main" userId="S::taylor.rendino@us.gt.com::94c7c389-b107-4b75-a5e4-ee4980ad4317" providerId="AD"/>
      </p:ext>
    </p:extLst>
  </p:cmAuthor>
  <p:cmAuthor id="3" name="Martin, Kristen" initials="MK" lastIdx="2" clrIdx="2">
    <p:extLst/>
  </p:cmAuthor>
  <p:cmAuthor id="4" name="Erker, Libby" initials="EL" lastIdx="2" clrIdx="3"/>
  <p:cmAuthor id="5" name="Tarver, Carol" initials="TC" lastIdx="6" clrIdx="4"/>
  <p:cmAuthor id="6" name="Rubenson, Todd" initials="RT" lastIdx="2"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2841"/>
    <a:srgbClr val="FF7D1E"/>
    <a:srgbClr val="00A7B5"/>
    <a:srgbClr val="D0CDD8"/>
    <a:srgbClr val="4F2D7F"/>
    <a:srgbClr val="C8BEAF"/>
    <a:srgbClr val="000000"/>
    <a:srgbClr val="9BD732"/>
    <a:srgbClr val="B9ABCC"/>
    <a:srgbClr val="9581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279" autoAdjust="0"/>
    <p:restoredTop sz="90590" autoAdjust="0"/>
  </p:normalViewPr>
  <p:slideViewPr>
    <p:cSldViewPr snapToGrid="0">
      <p:cViewPr varScale="1">
        <p:scale>
          <a:sx n="87" d="100"/>
          <a:sy n="87" d="100"/>
        </p:scale>
        <p:origin x="468" y="5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86" d="100"/>
          <a:sy n="86" d="100"/>
        </p:scale>
        <p:origin x="3786" y="78"/>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dino (Smiley), Taylor" userId="S::taylor.rendino@us.gt.com::94c7c389-b107-4b75-a5e4-ee4980ad4317" providerId="AD" clId="Web-{682688B2-616C-4BDB-B68A-046123AABA67}"/>
    <pc:docChg chg="modSld">
      <pc:chgData name="Rendino (Smiley), Taylor" userId="S::taylor.rendino@us.gt.com::94c7c389-b107-4b75-a5e4-ee4980ad4317" providerId="AD" clId="Web-{682688B2-616C-4BDB-B68A-046123AABA67}" dt="2018-03-27T16:08:38.009" v="54"/>
      <pc:docMkLst>
        <pc:docMk/>
      </pc:docMkLst>
      <pc:sldChg chg="modSp">
        <pc:chgData name="Rendino (Smiley), Taylor" userId="S::taylor.rendino@us.gt.com::94c7c389-b107-4b75-a5e4-ee4980ad4317" providerId="AD" clId="Web-{682688B2-616C-4BDB-B68A-046123AABA67}" dt="2018-03-27T15:38:13.777" v="24"/>
        <pc:sldMkLst>
          <pc:docMk/>
          <pc:sldMk cId="3228453025" sldId="1410"/>
        </pc:sldMkLst>
        <pc:spChg chg="mod">
          <ac:chgData name="Rendino (Smiley), Taylor" userId="S::taylor.rendino@us.gt.com::94c7c389-b107-4b75-a5e4-ee4980ad4317" providerId="AD" clId="Web-{682688B2-616C-4BDB-B68A-046123AABA67}" dt="2018-03-27T15:38:13.777" v="24"/>
          <ac:spMkLst>
            <pc:docMk/>
            <pc:sldMk cId="3228453025" sldId="1410"/>
            <ac:spMk id="4" creationId="{00000000-0000-0000-0000-000000000000}"/>
          </ac:spMkLst>
        </pc:spChg>
      </pc:sldChg>
      <pc:sldChg chg="addCm modCm">
        <pc:chgData name="Rendino (Smiley), Taylor" userId="S::taylor.rendino@us.gt.com::94c7c389-b107-4b75-a5e4-ee4980ad4317" providerId="AD" clId="Web-{682688B2-616C-4BDB-B68A-046123AABA67}" dt="2018-03-27T16:08:38.009" v="54"/>
        <pc:sldMkLst>
          <pc:docMk/>
          <pc:sldMk cId="4217091644" sldId="1413"/>
        </pc:sldMkLst>
      </pc:sldChg>
      <pc:sldChg chg="modSp">
        <pc:chgData name="Rendino (Smiley), Taylor" userId="S::taylor.rendino@us.gt.com::94c7c389-b107-4b75-a5e4-ee4980ad4317" providerId="AD" clId="Web-{682688B2-616C-4BDB-B68A-046123AABA67}" dt="2018-03-27T15:21:40.542" v="7"/>
        <pc:sldMkLst>
          <pc:docMk/>
          <pc:sldMk cId="858018569" sldId="1415"/>
        </pc:sldMkLst>
        <pc:spChg chg="mod">
          <ac:chgData name="Rendino (Smiley), Taylor" userId="S::taylor.rendino@us.gt.com::94c7c389-b107-4b75-a5e4-ee4980ad4317" providerId="AD" clId="Web-{682688B2-616C-4BDB-B68A-046123AABA67}" dt="2018-03-27T15:21:40.542" v="7"/>
          <ac:spMkLst>
            <pc:docMk/>
            <pc:sldMk cId="858018569" sldId="1415"/>
            <ac:spMk id="2" creationId="{00000000-0000-0000-0000-000000000000}"/>
          </ac:spMkLst>
        </pc:spChg>
        <pc:spChg chg="mod">
          <ac:chgData name="Rendino (Smiley), Taylor" userId="S::taylor.rendino@us.gt.com::94c7c389-b107-4b75-a5e4-ee4980ad4317" providerId="AD" clId="Web-{682688B2-616C-4BDB-B68A-046123AABA67}" dt="2018-03-27T15:18:03.442" v="0"/>
          <ac:spMkLst>
            <pc:docMk/>
            <pc:sldMk cId="858018569" sldId="1415"/>
            <ac:spMk id="3" creationId="{00000000-0000-0000-0000-000000000000}"/>
          </ac:spMkLst>
        </pc:spChg>
      </pc:sldChg>
      <pc:sldChg chg="modSp">
        <pc:chgData name="Rendino (Smiley), Taylor" userId="S::taylor.rendino@us.gt.com::94c7c389-b107-4b75-a5e4-ee4980ad4317" providerId="AD" clId="Web-{682688B2-616C-4BDB-B68A-046123AABA67}" dt="2018-03-27T15:18:19.536" v="3"/>
        <pc:sldMkLst>
          <pc:docMk/>
          <pc:sldMk cId="3939473673" sldId="1416"/>
        </pc:sldMkLst>
        <pc:spChg chg="mod">
          <ac:chgData name="Rendino (Smiley), Taylor" userId="S::taylor.rendino@us.gt.com::94c7c389-b107-4b75-a5e4-ee4980ad4317" providerId="AD" clId="Web-{682688B2-616C-4BDB-B68A-046123AABA67}" dt="2018-03-27T15:18:19.536" v="3"/>
          <ac:spMkLst>
            <pc:docMk/>
            <pc:sldMk cId="3939473673" sldId="1416"/>
            <ac:spMk id="4" creationId="{00000000-0000-0000-0000-000000000000}"/>
          </ac:spMkLst>
        </pc:spChg>
      </pc:sldChg>
      <pc:sldChg chg="modSp">
        <pc:chgData name="Rendino (Smiley), Taylor" userId="S::taylor.rendino@us.gt.com::94c7c389-b107-4b75-a5e4-ee4980ad4317" providerId="AD" clId="Web-{682688B2-616C-4BDB-B68A-046123AABA67}" dt="2018-03-27T15:21:57.418" v="8"/>
        <pc:sldMkLst>
          <pc:docMk/>
          <pc:sldMk cId="1393040531" sldId="1418"/>
        </pc:sldMkLst>
        <pc:spChg chg="mod">
          <ac:chgData name="Rendino (Smiley), Taylor" userId="S::taylor.rendino@us.gt.com::94c7c389-b107-4b75-a5e4-ee4980ad4317" providerId="AD" clId="Web-{682688B2-616C-4BDB-B68A-046123AABA67}" dt="2018-03-27T15:21:57.418" v="8"/>
          <ac:spMkLst>
            <pc:docMk/>
            <pc:sldMk cId="1393040531" sldId="1418"/>
            <ac:spMk id="2" creationId="{00000000-0000-0000-0000-000000000000}"/>
          </ac:spMkLst>
        </pc:spChg>
      </pc:sldChg>
      <pc:sldChg chg="modSp">
        <pc:chgData name="Rendino (Smiley), Taylor" userId="S::taylor.rendino@us.gt.com::94c7c389-b107-4b75-a5e4-ee4980ad4317" providerId="AD" clId="Web-{682688B2-616C-4BDB-B68A-046123AABA67}" dt="2018-03-27T16:02:10.090" v="29"/>
        <pc:sldMkLst>
          <pc:docMk/>
          <pc:sldMk cId="807615383" sldId="1420"/>
        </pc:sldMkLst>
        <pc:spChg chg="mod">
          <ac:chgData name="Rendino (Smiley), Taylor" userId="S::taylor.rendino@us.gt.com::94c7c389-b107-4b75-a5e4-ee4980ad4317" providerId="AD" clId="Web-{682688B2-616C-4BDB-B68A-046123AABA67}" dt="2018-03-27T16:02:09.434" v="28"/>
          <ac:spMkLst>
            <pc:docMk/>
            <pc:sldMk cId="807615383" sldId="1420"/>
            <ac:spMk id="2" creationId="{00000000-0000-0000-0000-000000000000}"/>
          </ac:spMkLst>
        </pc:spChg>
        <pc:spChg chg="mod">
          <ac:chgData name="Rendino (Smiley), Taylor" userId="S::taylor.rendino@us.gt.com::94c7c389-b107-4b75-a5e4-ee4980ad4317" providerId="AD" clId="Web-{682688B2-616C-4BDB-B68A-046123AABA67}" dt="2018-03-27T16:02:10.090" v="29"/>
          <ac:spMkLst>
            <pc:docMk/>
            <pc:sldMk cId="807615383" sldId="1420"/>
            <ac:spMk id="6" creationId="{00000000-0000-0000-0000-000000000000}"/>
          </ac:spMkLst>
        </pc:spChg>
      </pc:sldChg>
      <pc:sldChg chg="modSp">
        <pc:chgData name="Rendino (Smiley), Taylor" userId="S::taylor.rendino@us.gt.com::94c7c389-b107-4b75-a5e4-ee4980ad4317" providerId="AD" clId="Web-{682688B2-616C-4BDB-B68A-046123AABA67}" dt="2018-03-27T16:02:17.137" v="33"/>
        <pc:sldMkLst>
          <pc:docMk/>
          <pc:sldMk cId="1204881675" sldId="1422"/>
        </pc:sldMkLst>
        <pc:spChg chg="mod">
          <ac:chgData name="Rendino (Smiley), Taylor" userId="S::taylor.rendino@us.gt.com::94c7c389-b107-4b75-a5e4-ee4980ad4317" providerId="AD" clId="Web-{682688B2-616C-4BDB-B68A-046123AABA67}" dt="2018-03-27T16:02:17.137" v="33"/>
          <ac:spMkLst>
            <pc:docMk/>
            <pc:sldMk cId="1204881675" sldId="1422"/>
            <ac:spMk id="2" creationId="{00000000-0000-0000-0000-000000000000}"/>
          </ac:spMkLst>
        </pc:spChg>
      </pc:sldChg>
      <pc:sldChg chg="modSp">
        <pc:chgData name="Rendino (Smiley), Taylor" userId="S::taylor.rendino@us.gt.com::94c7c389-b107-4b75-a5e4-ee4980ad4317" providerId="AD" clId="Web-{682688B2-616C-4BDB-B68A-046123AABA67}" dt="2018-03-27T16:02:27.809" v="35"/>
        <pc:sldMkLst>
          <pc:docMk/>
          <pc:sldMk cId="3324624479" sldId="1424"/>
        </pc:sldMkLst>
        <pc:spChg chg="mod">
          <ac:chgData name="Rendino (Smiley), Taylor" userId="S::taylor.rendino@us.gt.com::94c7c389-b107-4b75-a5e4-ee4980ad4317" providerId="AD" clId="Web-{682688B2-616C-4BDB-B68A-046123AABA67}" dt="2018-03-27T16:02:27.809" v="35"/>
          <ac:spMkLst>
            <pc:docMk/>
            <pc:sldMk cId="3324624479" sldId="1424"/>
            <ac:spMk id="2" creationId="{00000000-0000-0000-0000-000000000000}"/>
          </ac:spMkLst>
        </pc:spChg>
      </pc:sldChg>
      <pc:sldChg chg="modSp">
        <pc:chgData name="Rendino (Smiley), Taylor" userId="S::taylor.rendino@us.gt.com::94c7c389-b107-4b75-a5e4-ee4980ad4317" providerId="AD" clId="Web-{682688B2-616C-4BDB-B68A-046123AABA67}" dt="2018-03-27T16:02:34.466" v="37"/>
        <pc:sldMkLst>
          <pc:docMk/>
          <pc:sldMk cId="3409563131" sldId="1425"/>
        </pc:sldMkLst>
        <pc:spChg chg="mod">
          <ac:chgData name="Rendino (Smiley), Taylor" userId="S::taylor.rendino@us.gt.com::94c7c389-b107-4b75-a5e4-ee4980ad4317" providerId="AD" clId="Web-{682688B2-616C-4BDB-B68A-046123AABA67}" dt="2018-03-27T16:02:34.466" v="37"/>
          <ac:spMkLst>
            <pc:docMk/>
            <pc:sldMk cId="3409563131" sldId="1425"/>
            <ac:spMk id="2" creationId="{00000000-0000-0000-0000-000000000000}"/>
          </ac:spMkLst>
        </pc:spChg>
      </pc:sldChg>
      <pc:sldChg chg="modSp">
        <pc:chgData name="Rendino (Smiley), Taylor" userId="S::taylor.rendino@us.gt.com::94c7c389-b107-4b75-a5e4-ee4980ad4317" providerId="AD" clId="Web-{682688B2-616C-4BDB-B68A-046123AABA67}" dt="2018-03-27T16:02:48.325" v="41"/>
        <pc:sldMkLst>
          <pc:docMk/>
          <pc:sldMk cId="2087798373" sldId="1426"/>
        </pc:sldMkLst>
        <pc:spChg chg="mod">
          <ac:chgData name="Rendino (Smiley), Taylor" userId="S::taylor.rendino@us.gt.com::94c7c389-b107-4b75-a5e4-ee4980ad4317" providerId="AD" clId="Web-{682688B2-616C-4BDB-B68A-046123AABA67}" dt="2018-03-27T16:02:48.325" v="41"/>
          <ac:spMkLst>
            <pc:docMk/>
            <pc:sldMk cId="2087798373" sldId="1426"/>
            <ac:spMk id="2" creationId="{00000000-0000-0000-0000-000000000000}"/>
          </ac:spMkLst>
        </pc:spChg>
      </pc:sldChg>
      <pc:sldChg chg="modSp">
        <pc:chgData name="Rendino (Smiley), Taylor" userId="S::taylor.rendino@us.gt.com::94c7c389-b107-4b75-a5e4-ee4980ad4317" providerId="AD" clId="Web-{682688B2-616C-4BDB-B68A-046123AABA67}" dt="2018-03-27T16:02:54.888" v="43"/>
        <pc:sldMkLst>
          <pc:docMk/>
          <pc:sldMk cId="3629112091" sldId="1427"/>
        </pc:sldMkLst>
        <pc:spChg chg="mod">
          <ac:chgData name="Rendino (Smiley), Taylor" userId="S::taylor.rendino@us.gt.com::94c7c389-b107-4b75-a5e4-ee4980ad4317" providerId="AD" clId="Web-{682688B2-616C-4BDB-B68A-046123AABA67}" dt="2018-03-27T16:02:54.888" v="43"/>
          <ac:spMkLst>
            <pc:docMk/>
            <pc:sldMk cId="3629112091" sldId="1427"/>
            <ac:spMk id="2" creationId="{00000000-0000-0000-0000-000000000000}"/>
          </ac:spMkLst>
        </pc:spChg>
      </pc:sldChg>
      <pc:sldChg chg="modSp">
        <pc:chgData name="Rendino (Smiley), Taylor" userId="S::taylor.rendino@us.gt.com::94c7c389-b107-4b75-a5e4-ee4980ad4317" providerId="AD" clId="Web-{682688B2-616C-4BDB-B68A-046123AABA67}" dt="2018-03-27T16:03:00.748" v="45"/>
        <pc:sldMkLst>
          <pc:docMk/>
          <pc:sldMk cId="1769650743" sldId="1428"/>
        </pc:sldMkLst>
        <pc:spChg chg="mod">
          <ac:chgData name="Rendino (Smiley), Taylor" userId="S::taylor.rendino@us.gt.com::94c7c389-b107-4b75-a5e4-ee4980ad4317" providerId="AD" clId="Web-{682688B2-616C-4BDB-B68A-046123AABA67}" dt="2018-03-27T16:03:00.748" v="45"/>
          <ac:spMkLst>
            <pc:docMk/>
            <pc:sldMk cId="1769650743" sldId="1428"/>
            <ac:spMk id="2" creationId="{00000000-0000-0000-0000-000000000000}"/>
          </ac:spMkLst>
        </pc:spChg>
      </pc:sldChg>
      <pc:sldChg chg="modSp">
        <pc:chgData name="Rendino (Smiley), Taylor" userId="S::taylor.rendino@us.gt.com::94c7c389-b107-4b75-a5e4-ee4980ad4317" providerId="AD" clId="Web-{682688B2-616C-4BDB-B68A-046123AABA67}" dt="2018-03-27T16:03:03.982" v="46"/>
        <pc:sldMkLst>
          <pc:docMk/>
          <pc:sldMk cId="718255544" sldId="1429"/>
        </pc:sldMkLst>
        <pc:spChg chg="mod">
          <ac:chgData name="Rendino (Smiley), Taylor" userId="S::taylor.rendino@us.gt.com::94c7c389-b107-4b75-a5e4-ee4980ad4317" providerId="AD" clId="Web-{682688B2-616C-4BDB-B68A-046123AABA67}" dt="2018-03-27T16:03:03.982" v="46"/>
          <ac:spMkLst>
            <pc:docMk/>
            <pc:sldMk cId="718255544" sldId="1429"/>
            <ac:spMk id="2" creationId="{00000000-0000-0000-0000-000000000000}"/>
          </ac:spMkLst>
        </pc:spChg>
      </pc:sldChg>
      <pc:sldChg chg="modSp">
        <pc:chgData name="Rendino (Smiley), Taylor" userId="S::taylor.rendino@us.gt.com::94c7c389-b107-4b75-a5e4-ee4980ad4317" providerId="AD" clId="Web-{682688B2-616C-4BDB-B68A-046123AABA67}" dt="2018-03-27T16:03:20.670" v="50"/>
        <pc:sldMkLst>
          <pc:docMk/>
          <pc:sldMk cId="99050791" sldId="1430"/>
        </pc:sldMkLst>
        <pc:spChg chg="mod">
          <ac:chgData name="Rendino (Smiley), Taylor" userId="S::taylor.rendino@us.gt.com::94c7c389-b107-4b75-a5e4-ee4980ad4317" providerId="AD" clId="Web-{682688B2-616C-4BDB-B68A-046123AABA67}" dt="2018-03-27T16:03:20.670" v="50"/>
          <ac:spMkLst>
            <pc:docMk/>
            <pc:sldMk cId="99050791" sldId="1430"/>
            <ac:spMk id="5" creationId="{00000000-0000-0000-0000-000000000000}"/>
          </ac:spMkLst>
        </pc:spChg>
      </pc:sldChg>
      <pc:sldChg chg="modSp">
        <pc:chgData name="Rendino (Smiley), Taylor" userId="S::taylor.rendino@us.gt.com::94c7c389-b107-4b75-a5e4-ee4980ad4317" providerId="AD" clId="Web-{682688B2-616C-4BDB-B68A-046123AABA67}" dt="2018-03-27T16:03:22.920" v="51"/>
        <pc:sldMkLst>
          <pc:docMk/>
          <pc:sldMk cId="2616135329" sldId="1431"/>
        </pc:sldMkLst>
        <pc:spChg chg="mod">
          <ac:chgData name="Rendino (Smiley), Taylor" userId="S::taylor.rendino@us.gt.com::94c7c389-b107-4b75-a5e4-ee4980ad4317" providerId="AD" clId="Web-{682688B2-616C-4BDB-B68A-046123AABA67}" dt="2018-03-27T16:03:22.920" v="51"/>
          <ac:spMkLst>
            <pc:docMk/>
            <pc:sldMk cId="2616135329" sldId="1431"/>
            <ac:spMk id="2" creationId="{00000000-0000-0000-0000-000000000000}"/>
          </ac:spMkLst>
        </pc:spChg>
      </pc:sldChg>
      <pc:sldChg chg="modSp">
        <pc:chgData name="Rendino (Smiley), Taylor" userId="S::taylor.rendino@us.gt.com::94c7c389-b107-4b75-a5e4-ee4980ad4317" providerId="AD" clId="Web-{682688B2-616C-4BDB-B68A-046123AABA67}" dt="2018-03-27T16:02:03.949" v="26"/>
        <pc:sldMkLst>
          <pc:docMk/>
          <pc:sldMk cId="2660333395" sldId="1433"/>
        </pc:sldMkLst>
        <pc:spChg chg="mod">
          <ac:chgData name="Rendino (Smiley), Taylor" userId="S::taylor.rendino@us.gt.com::94c7c389-b107-4b75-a5e4-ee4980ad4317" providerId="AD" clId="Web-{682688B2-616C-4BDB-B68A-046123AABA67}" dt="2018-03-27T16:02:03.949" v="26"/>
          <ac:spMkLst>
            <pc:docMk/>
            <pc:sldMk cId="2660333395" sldId="1433"/>
            <ac:spMk id="2" creationId="{00000000-0000-0000-0000-000000000000}"/>
          </ac:spMkLst>
        </pc:spChg>
      </pc:sldChg>
      <pc:sldChg chg="modSp">
        <pc:chgData name="Rendino (Smiley), Taylor" userId="S::taylor.rendino@us.gt.com::94c7c389-b107-4b75-a5e4-ee4980ad4317" providerId="AD" clId="Web-{682688B2-616C-4BDB-B68A-046123AABA67}" dt="2018-03-27T15:21:33.073" v="6"/>
        <pc:sldMkLst>
          <pc:docMk/>
          <pc:sldMk cId="886922143" sldId="1436"/>
        </pc:sldMkLst>
        <pc:spChg chg="mod">
          <ac:chgData name="Rendino (Smiley), Taylor" userId="S::taylor.rendino@us.gt.com::94c7c389-b107-4b75-a5e4-ee4980ad4317" providerId="AD" clId="Web-{682688B2-616C-4BDB-B68A-046123AABA67}" dt="2018-03-27T15:21:33.073" v="6"/>
          <ac:spMkLst>
            <pc:docMk/>
            <pc:sldMk cId="886922143" sldId="1436"/>
            <ac:spMk id="2"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85158C-5E26-4D75-A21E-78DA0806846D}"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83510661-0951-4EA3-935B-60FCE38DC8BE}">
      <dgm:prSet phldrT="[Text]"/>
      <dgm:spPr>
        <a:solidFill>
          <a:srgbClr val="C8BEAC"/>
        </a:solidFill>
      </dgm:spPr>
      <dgm:t>
        <a:bodyPr/>
        <a:lstStyle/>
        <a:p>
          <a:r>
            <a:rPr lang="en-US" dirty="0"/>
            <a:t>Conducted information governance assessment workshops</a:t>
          </a:r>
        </a:p>
      </dgm:t>
    </dgm:pt>
    <dgm:pt modelId="{A37B737E-B4B2-407D-BE39-21435EF2DE4F}" type="parTrans" cxnId="{C58A028F-8FB1-4E6F-9F0F-DF2BD4CD1479}">
      <dgm:prSet/>
      <dgm:spPr/>
      <dgm:t>
        <a:bodyPr/>
        <a:lstStyle/>
        <a:p>
          <a:endParaRPr lang="en-US"/>
        </a:p>
      </dgm:t>
    </dgm:pt>
    <dgm:pt modelId="{22EDC191-BC78-4C7C-A138-59CE9DEBC68D}" type="sibTrans" cxnId="{C58A028F-8FB1-4E6F-9F0F-DF2BD4CD1479}">
      <dgm:prSet/>
      <dgm:spPr/>
      <dgm:t>
        <a:bodyPr/>
        <a:lstStyle/>
        <a:p>
          <a:endParaRPr lang="en-US"/>
        </a:p>
      </dgm:t>
    </dgm:pt>
    <dgm:pt modelId="{D55C5EA9-515B-48D5-AF6B-0217B27CBBE6}">
      <dgm:prSet phldrT="[Text]"/>
      <dgm:spPr>
        <a:solidFill>
          <a:srgbClr val="00A9B9"/>
        </a:solidFill>
      </dgm:spPr>
      <dgm:t>
        <a:bodyPr/>
        <a:lstStyle/>
        <a:p>
          <a:r>
            <a:rPr lang="en-US" dirty="0"/>
            <a:t>Created information management policy</a:t>
          </a:r>
        </a:p>
      </dgm:t>
    </dgm:pt>
    <dgm:pt modelId="{58E7AE65-DD54-468B-BE65-D16A265B2322}" type="parTrans" cxnId="{3A026C9A-7390-4B29-B17E-4F4B49BC6CDA}">
      <dgm:prSet/>
      <dgm:spPr/>
      <dgm:t>
        <a:bodyPr/>
        <a:lstStyle/>
        <a:p>
          <a:endParaRPr lang="en-US"/>
        </a:p>
      </dgm:t>
    </dgm:pt>
    <dgm:pt modelId="{D07F961A-7F4C-4540-B18A-1F2EF414B5F8}" type="sibTrans" cxnId="{3A026C9A-7390-4B29-B17E-4F4B49BC6CDA}">
      <dgm:prSet/>
      <dgm:spPr/>
      <dgm:t>
        <a:bodyPr/>
        <a:lstStyle/>
        <a:p>
          <a:endParaRPr lang="en-US"/>
        </a:p>
      </dgm:t>
    </dgm:pt>
    <dgm:pt modelId="{2DE29CF3-3393-4B0A-9DF1-BE6581E4D378}">
      <dgm:prSet phldrT="[Text]"/>
      <dgm:spPr>
        <a:solidFill>
          <a:srgbClr val="FF7400"/>
        </a:solidFill>
      </dgm:spPr>
      <dgm:t>
        <a:bodyPr/>
        <a:lstStyle/>
        <a:p>
          <a:r>
            <a:rPr lang="en-US" dirty="0"/>
            <a:t>Created records retention schedule</a:t>
          </a:r>
        </a:p>
      </dgm:t>
    </dgm:pt>
    <dgm:pt modelId="{E177AB03-AA7A-4192-9B45-1F13A4871CB3}" type="parTrans" cxnId="{74CA67F0-E867-4B60-8AF2-BD29677A1156}">
      <dgm:prSet/>
      <dgm:spPr/>
      <dgm:t>
        <a:bodyPr/>
        <a:lstStyle/>
        <a:p>
          <a:endParaRPr lang="en-US"/>
        </a:p>
      </dgm:t>
    </dgm:pt>
    <dgm:pt modelId="{F506DC71-06A9-4A79-B679-EA2D69C3B47A}" type="sibTrans" cxnId="{74CA67F0-E867-4B60-8AF2-BD29677A1156}">
      <dgm:prSet/>
      <dgm:spPr/>
      <dgm:t>
        <a:bodyPr/>
        <a:lstStyle/>
        <a:p>
          <a:endParaRPr lang="en-US"/>
        </a:p>
      </dgm:t>
    </dgm:pt>
    <dgm:pt modelId="{4CBC7439-DC96-49FD-BC07-9C490972960D}">
      <dgm:prSet phldrT="[Text]"/>
      <dgm:spPr>
        <a:solidFill>
          <a:srgbClr val="552684"/>
        </a:solidFill>
      </dgm:spPr>
      <dgm:t>
        <a:bodyPr/>
        <a:lstStyle/>
        <a:p>
          <a:r>
            <a:rPr lang="en-US" dirty="0"/>
            <a:t>Created strategic plan</a:t>
          </a:r>
        </a:p>
      </dgm:t>
    </dgm:pt>
    <dgm:pt modelId="{813230FA-6651-4F86-BF2E-AFFD9A712DD6}" type="parTrans" cxnId="{A9FC951E-D288-45D0-9329-D720346CEED3}">
      <dgm:prSet/>
      <dgm:spPr/>
      <dgm:t>
        <a:bodyPr/>
        <a:lstStyle/>
        <a:p>
          <a:endParaRPr lang="en-US"/>
        </a:p>
      </dgm:t>
    </dgm:pt>
    <dgm:pt modelId="{E154AEAC-532F-4A3D-9B62-1D1A12A8C20F}" type="sibTrans" cxnId="{A9FC951E-D288-45D0-9329-D720346CEED3}">
      <dgm:prSet/>
      <dgm:spPr/>
      <dgm:t>
        <a:bodyPr/>
        <a:lstStyle/>
        <a:p>
          <a:endParaRPr lang="en-US"/>
        </a:p>
      </dgm:t>
    </dgm:pt>
    <dgm:pt modelId="{9ABE9E43-5283-4F50-AA7B-FB97EB76F6C0}" type="pres">
      <dgm:prSet presAssocID="{8385158C-5E26-4D75-A21E-78DA0806846D}" presName="Name0" presStyleCnt="0">
        <dgm:presLayoutVars>
          <dgm:chMax val="7"/>
          <dgm:chPref val="7"/>
          <dgm:dir/>
        </dgm:presLayoutVars>
      </dgm:prSet>
      <dgm:spPr/>
      <dgm:t>
        <a:bodyPr/>
        <a:lstStyle/>
        <a:p>
          <a:endParaRPr lang="en-US"/>
        </a:p>
      </dgm:t>
    </dgm:pt>
    <dgm:pt modelId="{7EECA530-65ED-41DD-8C18-C0FA3FDD87AA}" type="pres">
      <dgm:prSet presAssocID="{8385158C-5E26-4D75-A21E-78DA0806846D}" presName="Name1" presStyleCnt="0"/>
      <dgm:spPr/>
    </dgm:pt>
    <dgm:pt modelId="{D4E1D892-B921-43EC-A7CC-7E24EA550C87}" type="pres">
      <dgm:prSet presAssocID="{8385158C-5E26-4D75-A21E-78DA0806846D}" presName="cycle" presStyleCnt="0"/>
      <dgm:spPr/>
    </dgm:pt>
    <dgm:pt modelId="{C2230752-5EEF-4D58-9488-B138E075E0A1}" type="pres">
      <dgm:prSet presAssocID="{8385158C-5E26-4D75-A21E-78DA0806846D}" presName="srcNode" presStyleLbl="node1" presStyleIdx="0" presStyleCnt="4"/>
      <dgm:spPr/>
    </dgm:pt>
    <dgm:pt modelId="{54965A1C-891F-4532-98F3-D76527673095}" type="pres">
      <dgm:prSet presAssocID="{8385158C-5E26-4D75-A21E-78DA0806846D}" presName="conn" presStyleLbl="parChTrans1D2" presStyleIdx="0" presStyleCnt="1"/>
      <dgm:spPr/>
      <dgm:t>
        <a:bodyPr/>
        <a:lstStyle/>
        <a:p>
          <a:endParaRPr lang="en-US"/>
        </a:p>
      </dgm:t>
    </dgm:pt>
    <dgm:pt modelId="{FF508623-D81C-4B52-B27B-523631A54CAE}" type="pres">
      <dgm:prSet presAssocID="{8385158C-5E26-4D75-A21E-78DA0806846D}" presName="extraNode" presStyleLbl="node1" presStyleIdx="0" presStyleCnt="4"/>
      <dgm:spPr/>
    </dgm:pt>
    <dgm:pt modelId="{C5B28F09-61D6-4D49-8BEC-F7207CB7B347}" type="pres">
      <dgm:prSet presAssocID="{8385158C-5E26-4D75-A21E-78DA0806846D}" presName="dstNode" presStyleLbl="node1" presStyleIdx="0" presStyleCnt="4"/>
      <dgm:spPr/>
    </dgm:pt>
    <dgm:pt modelId="{505BAB58-FB95-4EE6-A76D-52A29E3CBC90}" type="pres">
      <dgm:prSet presAssocID="{83510661-0951-4EA3-935B-60FCE38DC8BE}" presName="text_1" presStyleLbl="node1" presStyleIdx="0" presStyleCnt="4">
        <dgm:presLayoutVars>
          <dgm:bulletEnabled val="1"/>
        </dgm:presLayoutVars>
      </dgm:prSet>
      <dgm:spPr/>
      <dgm:t>
        <a:bodyPr/>
        <a:lstStyle/>
        <a:p>
          <a:endParaRPr lang="en-US"/>
        </a:p>
      </dgm:t>
    </dgm:pt>
    <dgm:pt modelId="{BF1E288D-2084-4A90-A68A-83F57B54C2EA}" type="pres">
      <dgm:prSet presAssocID="{83510661-0951-4EA3-935B-60FCE38DC8BE}" presName="accent_1" presStyleCnt="0"/>
      <dgm:spPr/>
    </dgm:pt>
    <dgm:pt modelId="{612C964D-52BD-4F30-87C9-C67EC787C79B}" type="pres">
      <dgm:prSet presAssocID="{83510661-0951-4EA3-935B-60FCE38DC8BE}" presName="accentRepeatNode" presStyleLbl="solidFgAcc1" presStyleIdx="0" presStyleCnt="4"/>
      <dgm:spPr/>
    </dgm:pt>
    <dgm:pt modelId="{681DD892-E3C6-47A8-B3B5-62387203DD06}" type="pres">
      <dgm:prSet presAssocID="{D55C5EA9-515B-48D5-AF6B-0217B27CBBE6}" presName="text_2" presStyleLbl="node1" presStyleIdx="1" presStyleCnt="4">
        <dgm:presLayoutVars>
          <dgm:bulletEnabled val="1"/>
        </dgm:presLayoutVars>
      </dgm:prSet>
      <dgm:spPr/>
      <dgm:t>
        <a:bodyPr/>
        <a:lstStyle/>
        <a:p>
          <a:endParaRPr lang="en-US"/>
        </a:p>
      </dgm:t>
    </dgm:pt>
    <dgm:pt modelId="{374B3C02-FFF3-4107-88C8-B2CC11EC5772}" type="pres">
      <dgm:prSet presAssocID="{D55C5EA9-515B-48D5-AF6B-0217B27CBBE6}" presName="accent_2" presStyleCnt="0"/>
      <dgm:spPr/>
    </dgm:pt>
    <dgm:pt modelId="{174DDB23-C722-4699-BC85-989C61D3F0A5}" type="pres">
      <dgm:prSet presAssocID="{D55C5EA9-515B-48D5-AF6B-0217B27CBBE6}" presName="accentRepeatNode" presStyleLbl="solidFgAcc1" presStyleIdx="1" presStyleCnt="4"/>
      <dgm:spPr/>
    </dgm:pt>
    <dgm:pt modelId="{71B79D15-97E5-4EAB-AB3E-B9369A202A08}" type="pres">
      <dgm:prSet presAssocID="{2DE29CF3-3393-4B0A-9DF1-BE6581E4D378}" presName="text_3" presStyleLbl="node1" presStyleIdx="2" presStyleCnt="4" custLinFactNeighborY="3879">
        <dgm:presLayoutVars>
          <dgm:bulletEnabled val="1"/>
        </dgm:presLayoutVars>
      </dgm:prSet>
      <dgm:spPr/>
      <dgm:t>
        <a:bodyPr/>
        <a:lstStyle/>
        <a:p>
          <a:endParaRPr lang="en-US"/>
        </a:p>
      </dgm:t>
    </dgm:pt>
    <dgm:pt modelId="{F020E707-64D6-494F-AD68-F7FD29EBF79E}" type="pres">
      <dgm:prSet presAssocID="{2DE29CF3-3393-4B0A-9DF1-BE6581E4D378}" presName="accent_3" presStyleCnt="0"/>
      <dgm:spPr/>
    </dgm:pt>
    <dgm:pt modelId="{BBB70EAE-E514-4862-A870-862E46ED7134}" type="pres">
      <dgm:prSet presAssocID="{2DE29CF3-3393-4B0A-9DF1-BE6581E4D378}" presName="accentRepeatNode" presStyleLbl="solidFgAcc1" presStyleIdx="2" presStyleCnt="4"/>
      <dgm:spPr/>
    </dgm:pt>
    <dgm:pt modelId="{76FE5ABC-AE74-482E-8C7B-5175092FE06A}" type="pres">
      <dgm:prSet presAssocID="{4CBC7439-DC96-49FD-BC07-9C490972960D}" presName="text_4" presStyleLbl="node1" presStyleIdx="3" presStyleCnt="4">
        <dgm:presLayoutVars>
          <dgm:bulletEnabled val="1"/>
        </dgm:presLayoutVars>
      </dgm:prSet>
      <dgm:spPr/>
      <dgm:t>
        <a:bodyPr/>
        <a:lstStyle/>
        <a:p>
          <a:endParaRPr lang="en-US"/>
        </a:p>
      </dgm:t>
    </dgm:pt>
    <dgm:pt modelId="{3BB1547B-3E30-405D-8D2D-19F34758802F}" type="pres">
      <dgm:prSet presAssocID="{4CBC7439-DC96-49FD-BC07-9C490972960D}" presName="accent_4" presStyleCnt="0"/>
      <dgm:spPr/>
    </dgm:pt>
    <dgm:pt modelId="{51F67B57-D032-497F-8CFC-205D0A7A1C90}" type="pres">
      <dgm:prSet presAssocID="{4CBC7439-DC96-49FD-BC07-9C490972960D}" presName="accentRepeatNode" presStyleLbl="solidFgAcc1" presStyleIdx="3" presStyleCnt="4"/>
      <dgm:spPr/>
    </dgm:pt>
  </dgm:ptLst>
  <dgm:cxnLst>
    <dgm:cxn modelId="{74CA67F0-E867-4B60-8AF2-BD29677A1156}" srcId="{8385158C-5E26-4D75-A21E-78DA0806846D}" destId="{2DE29CF3-3393-4B0A-9DF1-BE6581E4D378}" srcOrd="2" destOrd="0" parTransId="{E177AB03-AA7A-4192-9B45-1F13A4871CB3}" sibTransId="{F506DC71-06A9-4A79-B679-EA2D69C3B47A}"/>
    <dgm:cxn modelId="{6B77A7F6-7C18-493F-B7C0-69FADB9475F4}" type="presOf" srcId="{2DE29CF3-3393-4B0A-9DF1-BE6581E4D378}" destId="{71B79D15-97E5-4EAB-AB3E-B9369A202A08}" srcOrd="0" destOrd="0" presId="urn:microsoft.com/office/officeart/2008/layout/VerticalCurvedList"/>
    <dgm:cxn modelId="{8A4D5216-0FF3-4695-AA1C-2013927D05C8}" type="presOf" srcId="{22EDC191-BC78-4C7C-A138-59CE9DEBC68D}" destId="{54965A1C-891F-4532-98F3-D76527673095}" srcOrd="0" destOrd="0" presId="urn:microsoft.com/office/officeart/2008/layout/VerticalCurvedList"/>
    <dgm:cxn modelId="{CB10D796-F8B7-478E-B917-8C8DAC6CF691}" type="presOf" srcId="{8385158C-5E26-4D75-A21E-78DA0806846D}" destId="{9ABE9E43-5283-4F50-AA7B-FB97EB76F6C0}" srcOrd="0" destOrd="0" presId="urn:microsoft.com/office/officeart/2008/layout/VerticalCurvedList"/>
    <dgm:cxn modelId="{C58A028F-8FB1-4E6F-9F0F-DF2BD4CD1479}" srcId="{8385158C-5E26-4D75-A21E-78DA0806846D}" destId="{83510661-0951-4EA3-935B-60FCE38DC8BE}" srcOrd="0" destOrd="0" parTransId="{A37B737E-B4B2-407D-BE39-21435EF2DE4F}" sibTransId="{22EDC191-BC78-4C7C-A138-59CE9DEBC68D}"/>
    <dgm:cxn modelId="{CBB91A60-3AEC-4B59-B3E0-FAE91C4B292C}" type="presOf" srcId="{D55C5EA9-515B-48D5-AF6B-0217B27CBBE6}" destId="{681DD892-E3C6-47A8-B3B5-62387203DD06}" srcOrd="0" destOrd="0" presId="urn:microsoft.com/office/officeart/2008/layout/VerticalCurvedList"/>
    <dgm:cxn modelId="{A9FC951E-D288-45D0-9329-D720346CEED3}" srcId="{8385158C-5E26-4D75-A21E-78DA0806846D}" destId="{4CBC7439-DC96-49FD-BC07-9C490972960D}" srcOrd="3" destOrd="0" parTransId="{813230FA-6651-4F86-BF2E-AFFD9A712DD6}" sibTransId="{E154AEAC-532F-4A3D-9B62-1D1A12A8C20F}"/>
    <dgm:cxn modelId="{F2CE8C33-7A81-438C-BD96-3F69ED2CBD6D}" type="presOf" srcId="{83510661-0951-4EA3-935B-60FCE38DC8BE}" destId="{505BAB58-FB95-4EE6-A76D-52A29E3CBC90}" srcOrd="0" destOrd="0" presId="urn:microsoft.com/office/officeart/2008/layout/VerticalCurvedList"/>
    <dgm:cxn modelId="{ACD8FBE8-C70A-4252-A0E1-5C503E9E85A6}" type="presOf" srcId="{4CBC7439-DC96-49FD-BC07-9C490972960D}" destId="{76FE5ABC-AE74-482E-8C7B-5175092FE06A}" srcOrd="0" destOrd="0" presId="urn:microsoft.com/office/officeart/2008/layout/VerticalCurvedList"/>
    <dgm:cxn modelId="{3A026C9A-7390-4B29-B17E-4F4B49BC6CDA}" srcId="{8385158C-5E26-4D75-A21E-78DA0806846D}" destId="{D55C5EA9-515B-48D5-AF6B-0217B27CBBE6}" srcOrd="1" destOrd="0" parTransId="{58E7AE65-DD54-468B-BE65-D16A265B2322}" sibTransId="{D07F961A-7F4C-4540-B18A-1F2EF414B5F8}"/>
    <dgm:cxn modelId="{BAE4E7E8-BCEB-4DDB-89FE-77CD3A77D0BC}" type="presParOf" srcId="{9ABE9E43-5283-4F50-AA7B-FB97EB76F6C0}" destId="{7EECA530-65ED-41DD-8C18-C0FA3FDD87AA}" srcOrd="0" destOrd="0" presId="urn:microsoft.com/office/officeart/2008/layout/VerticalCurvedList"/>
    <dgm:cxn modelId="{2D78F800-D070-4625-A371-2BF98CE17A78}" type="presParOf" srcId="{7EECA530-65ED-41DD-8C18-C0FA3FDD87AA}" destId="{D4E1D892-B921-43EC-A7CC-7E24EA550C87}" srcOrd="0" destOrd="0" presId="urn:microsoft.com/office/officeart/2008/layout/VerticalCurvedList"/>
    <dgm:cxn modelId="{6BE3501D-F93C-495C-8B77-73A3CB2E37B9}" type="presParOf" srcId="{D4E1D892-B921-43EC-A7CC-7E24EA550C87}" destId="{C2230752-5EEF-4D58-9488-B138E075E0A1}" srcOrd="0" destOrd="0" presId="urn:microsoft.com/office/officeart/2008/layout/VerticalCurvedList"/>
    <dgm:cxn modelId="{14419E76-EF0A-4555-A622-A0C7FF89168E}" type="presParOf" srcId="{D4E1D892-B921-43EC-A7CC-7E24EA550C87}" destId="{54965A1C-891F-4532-98F3-D76527673095}" srcOrd="1" destOrd="0" presId="urn:microsoft.com/office/officeart/2008/layout/VerticalCurvedList"/>
    <dgm:cxn modelId="{A392B636-2B8F-405C-97C2-A0DDC94731E6}" type="presParOf" srcId="{D4E1D892-B921-43EC-A7CC-7E24EA550C87}" destId="{FF508623-D81C-4B52-B27B-523631A54CAE}" srcOrd="2" destOrd="0" presId="urn:microsoft.com/office/officeart/2008/layout/VerticalCurvedList"/>
    <dgm:cxn modelId="{9DB5A640-53A5-4D70-8DC8-8A5292DC4FF8}" type="presParOf" srcId="{D4E1D892-B921-43EC-A7CC-7E24EA550C87}" destId="{C5B28F09-61D6-4D49-8BEC-F7207CB7B347}" srcOrd="3" destOrd="0" presId="urn:microsoft.com/office/officeart/2008/layout/VerticalCurvedList"/>
    <dgm:cxn modelId="{A0D9ED92-A13A-4C65-86F7-A5C8D604BE3E}" type="presParOf" srcId="{7EECA530-65ED-41DD-8C18-C0FA3FDD87AA}" destId="{505BAB58-FB95-4EE6-A76D-52A29E3CBC90}" srcOrd="1" destOrd="0" presId="urn:microsoft.com/office/officeart/2008/layout/VerticalCurvedList"/>
    <dgm:cxn modelId="{F1DC9A99-3B6D-4897-BAAB-82ACC5022B8A}" type="presParOf" srcId="{7EECA530-65ED-41DD-8C18-C0FA3FDD87AA}" destId="{BF1E288D-2084-4A90-A68A-83F57B54C2EA}" srcOrd="2" destOrd="0" presId="urn:microsoft.com/office/officeart/2008/layout/VerticalCurvedList"/>
    <dgm:cxn modelId="{3EFD857F-99E2-463C-921B-45DC69B49E80}" type="presParOf" srcId="{BF1E288D-2084-4A90-A68A-83F57B54C2EA}" destId="{612C964D-52BD-4F30-87C9-C67EC787C79B}" srcOrd="0" destOrd="0" presId="urn:microsoft.com/office/officeart/2008/layout/VerticalCurvedList"/>
    <dgm:cxn modelId="{18506F7B-31DD-468D-9385-F205C1772F5D}" type="presParOf" srcId="{7EECA530-65ED-41DD-8C18-C0FA3FDD87AA}" destId="{681DD892-E3C6-47A8-B3B5-62387203DD06}" srcOrd="3" destOrd="0" presId="urn:microsoft.com/office/officeart/2008/layout/VerticalCurvedList"/>
    <dgm:cxn modelId="{B68BB0CF-0EB4-4672-8AA5-515F10C531D9}" type="presParOf" srcId="{7EECA530-65ED-41DD-8C18-C0FA3FDD87AA}" destId="{374B3C02-FFF3-4107-88C8-B2CC11EC5772}" srcOrd="4" destOrd="0" presId="urn:microsoft.com/office/officeart/2008/layout/VerticalCurvedList"/>
    <dgm:cxn modelId="{4B4DFA10-997E-440C-827F-829598D219EA}" type="presParOf" srcId="{374B3C02-FFF3-4107-88C8-B2CC11EC5772}" destId="{174DDB23-C722-4699-BC85-989C61D3F0A5}" srcOrd="0" destOrd="0" presId="urn:microsoft.com/office/officeart/2008/layout/VerticalCurvedList"/>
    <dgm:cxn modelId="{3615B986-F764-4BE0-AD8B-0EAFF00B9BF3}" type="presParOf" srcId="{7EECA530-65ED-41DD-8C18-C0FA3FDD87AA}" destId="{71B79D15-97E5-4EAB-AB3E-B9369A202A08}" srcOrd="5" destOrd="0" presId="urn:microsoft.com/office/officeart/2008/layout/VerticalCurvedList"/>
    <dgm:cxn modelId="{F54FFF18-F41C-48EA-BB7E-7FA37E324702}" type="presParOf" srcId="{7EECA530-65ED-41DD-8C18-C0FA3FDD87AA}" destId="{F020E707-64D6-494F-AD68-F7FD29EBF79E}" srcOrd="6" destOrd="0" presId="urn:microsoft.com/office/officeart/2008/layout/VerticalCurvedList"/>
    <dgm:cxn modelId="{92767769-EA3F-4ADF-A2BF-0A4F67D5D800}" type="presParOf" srcId="{F020E707-64D6-494F-AD68-F7FD29EBF79E}" destId="{BBB70EAE-E514-4862-A870-862E46ED7134}" srcOrd="0" destOrd="0" presId="urn:microsoft.com/office/officeart/2008/layout/VerticalCurvedList"/>
    <dgm:cxn modelId="{5E637730-FBA2-4C51-98CA-BEF6FD645F9B}" type="presParOf" srcId="{7EECA530-65ED-41DD-8C18-C0FA3FDD87AA}" destId="{76FE5ABC-AE74-482E-8C7B-5175092FE06A}" srcOrd="7" destOrd="0" presId="urn:microsoft.com/office/officeart/2008/layout/VerticalCurvedList"/>
    <dgm:cxn modelId="{6A1F696E-D71B-47D3-A636-D100979AA343}" type="presParOf" srcId="{7EECA530-65ED-41DD-8C18-C0FA3FDD87AA}" destId="{3BB1547B-3E30-405D-8D2D-19F34758802F}" srcOrd="8" destOrd="0" presId="urn:microsoft.com/office/officeart/2008/layout/VerticalCurvedList"/>
    <dgm:cxn modelId="{4FAA1FE4-0B3D-4CB3-83CC-09A1E5662489}" type="presParOf" srcId="{3BB1547B-3E30-405D-8D2D-19F34758802F}" destId="{51F67B57-D032-497F-8CFC-205D0A7A1C9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7F4EBB8-252D-4A30-B3F6-E35109B3A6A2}" type="doc">
      <dgm:prSet loTypeId="urn:microsoft.com/office/officeart/2005/8/layout/chevron1" loCatId="process" qsTypeId="urn:microsoft.com/office/officeart/2005/8/quickstyle/simple1" qsCatId="simple" csTypeId="urn:microsoft.com/office/officeart/2005/8/colors/accent1_2" csCatId="accent1" phldr="1"/>
      <dgm:spPr/>
    </dgm:pt>
    <dgm:pt modelId="{572CD2E3-B58A-4359-88D8-96B2C51E6763}">
      <dgm:prSet phldrT="[Text]"/>
      <dgm:spPr>
        <a:solidFill>
          <a:srgbClr val="C8BEAF"/>
        </a:solidFill>
        <a:ln>
          <a:solidFill>
            <a:srgbClr val="C8BEAF"/>
          </a:solidFill>
        </a:ln>
      </dgm:spPr>
      <dgm:t>
        <a:bodyPr/>
        <a:lstStyle/>
        <a:p>
          <a:r>
            <a:rPr lang="en-US" dirty="0"/>
            <a:t>Provided questionnaire</a:t>
          </a:r>
        </a:p>
      </dgm:t>
    </dgm:pt>
    <dgm:pt modelId="{048CB1CB-2EFF-4EA7-9B4A-CA25898AF068}" type="parTrans" cxnId="{0C7251B5-039F-4BC2-AC93-17FA1E67DC6E}">
      <dgm:prSet/>
      <dgm:spPr/>
      <dgm:t>
        <a:bodyPr/>
        <a:lstStyle/>
        <a:p>
          <a:endParaRPr lang="en-US"/>
        </a:p>
      </dgm:t>
    </dgm:pt>
    <dgm:pt modelId="{18041D17-5A08-4A48-9C43-6CE43456CBD3}" type="sibTrans" cxnId="{0C7251B5-039F-4BC2-AC93-17FA1E67DC6E}">
      <dgm:prSet/>
      <dgm:spPr/>
      <dgm:t>
        <a:bodyPr/>
        <a:lstStyle/>
        <a:p>
          <a:endParaRPr lang="en-US"/>
        </a:p>
      </dgm:t>
    </dgm:pt>
    <dgm:pt modelId="{7EE69833-42E8-483E-BB43-118B84532EE9}">
      <dgm:prSet phldrT="[Text]"/>
      <dgm:spPr>
        <a:solidFill>
          <a:srgbClr val="E62841"/>
        </a:solidFill>
      </dgm:spPr>
      <dgm:t>
        <a:bodyPr/>
        <a:lstStyle/>
        <a:p>
          <a:r>
            <a:rPr lang="en-US" dirty="0"/>
            <a:t>Met with the business</a:t>
          </a:r>
        </a:p>
      </dgm:t>
    </dgm:pt>
    <dgm:pt modelId="{5E8A83A3-79EF-42E0-968D-F1ABA6D736A1}" type="parTrans" cxnId="{E5F07F16-459B-4705-A1D0-E27A90983637}">
      <dgm:prSet/>
      <dgm:spPr/>
      <dgm:t>
        <a:bodyPr/>
        <a:lstStyle/>
        <a:p>
          <a:endParaRPr lang="en-US"/>
        </a:p>
      </dgm:t>
    </dgm:pt>
    <dgm:pt modelId="{1D4A33BA-D860-471C-A212-F475F76B1BE8}" type="sibTrans" cxnId="{E5F07F16-459B-4705-A1D0-E27A90983637}">
      <dgm:prSet/>
      <dgm:spPr/>
      <dgm:t>
        <a:bodyPr/>
        <a:lstStyle/>
        <a:p>
          <a:endParaRPr lang="en-US"/>
        </a:p>
      </dgm:t>
    </dgm:pt>
    <dgm:pt modelId="{ACC35E7E-EB55-4D4C-8244-7635031E2BA8}">
      <dgm:prSet phldrT="[Text]"/>
      <dgm:spPr>
        <a:solidFill>
          <a:srgbClr val="FF7D1E"/>
        </a:solidFill>
      </dgm:spPr>
      <dgm:t>
        <a:bodyPr/>
        <a:lstStyle/>
        <a:p>
          <a:r>
            <a:rPr lang="en-US" dirty="0"/>
            <a:t>Clarified questionnaire responses</a:t>
          </a:r>
        </a:p>
      </dgm:t>
    </dgm:pt>
    <dgm:pt modelId="{D9E6E2C6-F4A9-4B65-83DF-FC40D19AACB4}" type="parTrans" cxnId="{B9F0B54B-A18D-42CD-BB20-FE44BDF784F5}">
      <dgm:prSet/>
      <dgm:spPr/>
      <dgm:t>
        <a:bodyPr/>
        <a:lstStyle/>
        <a:p>
          <a:endParaRPr lang="en-US"/>
        </a:p>
      </dgm:t>
    </dgm:pt>
    <dgm:pt modelId="{50E8134A-737E-4F78-B894-0900F21419C8}" type="sibTrans" cxnId="{B9F0B54B-A18D-42CD-BB20-FE44BDF784F5}">
      <dgm:prSet/>
      <dgm:spPr/>
      <dgm:t>
        <a:bodyPr/>
        <a:lstStyle/>
        <a:p>
          <a:endParaRPr lang="en-US"/>
        </a:p>
      </dgm:t>
    </dgm:pt>
    <dgm:pt modelId="{B136D25F-C65D-4C70-AC67-E0A4526C3030}">
      <dgm:prSet phldrT="[Text]"/>
      <dgm:spPr>
        <a:solidFill>
          <a:srgbClr val="4F2D7F"/>
        </a:solidFill>
      </dgm:spPr>
      <dgm:t>
        <a:bodyPr/>
        <a:lstStyle/>
        <a:p>
          <a:r>
            <a:rPr lang="en-US" dirty="0"/>
            <a:t>Assembled aggregated responses</a:t>
          </a:r>
        </a:p>
      </dgm:t>
    </dgm:pt>
    <dgm:pt modelId="{BF04865A-CD73-42B8-9201-3C76472DDAB6}" type="parTrans" cxnId="{93EE5F5F-66B3-48C0-8CA0-2464CD1B3251}">
      <dgm:prSet/>
      <dgm:spPr/>
      <dgm:t>
        <a:bodyPr/>
        <a:lstStyle/>
        <a:p>
          <a:endParaRPr lang="en-US"/>
        </a:p>
      </dgm:t>
    </dgm:pt>
    <dgm:pt modelId="{C68263EA-239C-4F82-9209-36DB86FA6838}" type="sibTrans" cxnId="{93EE5F5F-66B3-48C0-8CA0-2464CD1B3251}">
      <dgm:prSet/>
      <dgm:spPr/>
      <dgm:t>
        <a:bodyPr/>
        <a:lstStyle/>
        <a:p>
          <a:endParaRPr lang="en-US"/>
        </a:p>
      </dgm:t>
    </dgm:pt>
    <dgm:pt modelId="{5177C14F-27F2-4DD5-8200-C5B8720EDBB7}" type="pres">
      <dgm:prSet presAssocID="{27F4EBB8-252D-4A30-B3F6-E35109B3A6A2}" presName="Name0" presStyleCnt="0">
        <dgm:presLayoutVars>
          <dgm:dir/>
          <dgm:animLvl val="lvl"/>
          <dgm:resizeHandles val="exact"/>
        </dgm:presLayoutVars>
      </dgm:prSet>
      <dgm:spPr/>
    </dgm:pt>
    <dgm:pt modelId="{C03D2DC1-9791-476A-A219-FCC09A330076}" type="pres">
      <dgm:prSet presAssocID="{572CD2E3-B58A-4359-88D8-96B2C51E6763}" presName="parTxOnly" presStyleLbl="node1" presStyleIdx="0" presStyleCnt="4">
        <dgm:presLayoutVars>
          <dgm:chMax val="0"/>
          <dgm:chPref val="0"/>
          <dgm:bulletEnabled val="1"/>
        </dgm:presLayoutVars>
      </dgm:prSet>
      <dgm:spPr/>
      <dgm:t>
        <a:bodyPr/>
        <a:lstStyle/>
        <a:p>
          <a:endParaRPr lang="en-US"/>
        </a:p>
      </dgm:t>
    </dgm:pt>
    <dgm:pt modelId="{C4747EAA-9EDC-41E3-B59C-A36896DC977A}" type="pres">
      <dgm:prSet presAssocID="{18041D17-5A08-4A48-9C43-6CE43456CBD3}" presName="parTxOnlySpace" presStyleCnt="0"/>
      <dgm:spPr/>
    </dgm:pt>
    <dgm:pt modelId="{FE99C3F1-8581-4429-819F-DA85478D615D}" type="pres">
      <dgm:prSet presAssocID="{7EE69833-42E8-483E-BB43-118B84532EE9}" presName="parTxOnly" presStyleLbl="node1" presStyleIdx="1" presStyleCnt="4">
        <dgm:presLayoutVars>
          <dgm:chMax val="0"/>
          <dgm:chPref val="0"/>
          <dgm:bulletEnabled val="1"/>
        </dgm:presLayoutVars>
      </dgm:prSet>
      <dgm:spPr/>
      <dgm:t>
        <a:bodyPr/>
        <a:lstStyle/>
        <a:p>
          <a:endParaRPr lang="en-US"/>
        </a:p>
      </dgm:t>
    </dgm:pt>
    <dgm:pt modelId="{8008FBF7-6B87-4672-A38B-AB0A1A538346}" type="pres">
      <dgm:prSet presAssocID="{1D4A33BA-D860-471C-A212-F475F76B1BE8}" presName="parTxOnlySpace" presStyleCnt="0"/>
      <dgm:spPr/>
    </dgm:pt>
    <dgm:pt modelId="{333ACC18-0FE9-4649-84F7-AC21170EE8C5}" type="pres">
      <dgm:prSet presAssocID="{ACC35E7E-EB55-4D4C-8244-7635031E2BA8}" presName="parTxOnly" presStyleLbl="node1" presStyleIdx="2" presStyleCnt="4">
        <dgm:presLayoutVars>
          <dgm:chMax val="0"/>
          <dgm:chPref val="0"/>
          <dgm:bulletEnabled val="1"/>
        </dgm:presLayoutVars>
      </dgm:prSet>
      <dgm:spPr/>
      <dgm:t>
        <a:bodyPr/>
        <a:lstStyle/>
        <a:p>
          <a:endParaRPr lang="en-US"/>
        </a:p>
      </dgm:t>
    </dgm:pt>
    <dgm:pt modelId="{A87C35AC-487D-4F12-91BE-E92414110C19}" type="pres">
      <dgm:prSet presAssocID="{50E8134A-737E-4F78-B894-0900F21419C8}" presName="parTxOnlySpace" presStyleCnt="0"/>
      <dgm:spPr/>
    </dgm:pt>
    <dgm:pt modelId="{8A33CA4D-AAE5-4123-9CA1-CD6C27D3D946}" type="pres">
      <dgm:prSet presAssocID="{B136D25F-C65D-4C70-AC67-E0A4526C3030}" presName="parTxOnly" presStyleLbl="node1" presStyleIdx="3" presStyleCnt="4">
        <dgm:presLayoutVars>
          <dgm:chMax val="0"/>
          <dgm:chPref val="0"/>
          <dgm:bulletEnabled val="1"/>
        </dgm:presLayoutVars>
      </dgm:prSet>
      <dgm:spPr/>
      <dgm:t>
        <a:bodyPr/>
        <a:lstStyle/>
        <a:p>
          <a:endParaRPr lang="en-US"/>
        </a:p>
      </dgm:t>
    </dgm:pt>
  </dgm:ptLst>
  <dgm:cxnLst>
    <dgm:cxn modelId="{7BBC0933-BCF4-48C6-AD51-CDB14FB5E3C9}" type="presOf" srcId="{572CD2E3-B58A-4359-88D8-96B2C51E6763}" destId="{C03D2DC1-9791-476A-A219-FCC09A330076}" srcOrd="0" destOrd="0" presId="urn:microsoft.com/office/officeart/2005/8/layout/chevron1"/>
    <dgm:cxn modelId="{18910D72-844C-4A34-88BB-B0A5838623F6}" type="presOf" srcId="{27F4EBB8-252D-4A30-B3F6-E35109B3A6A2}" destId="{5177C14F-27F2-4DD5-8200-C5B8720EDBB7}" srcOrd="0" destOrd="0" presId="urn:microsoft.com/office/officeart/2005/8/layout/chevron1"/>
    <dgm:cxn modelId="{578F7937-1109-49B7-8668-8FBE481765A3}" type="presOf" srcId="{7EE69833-42E8-483E-BB43-118B84532EE9}" destId="{FE99C3F1-8581-4429-819F-DA85478D615D}" srcOrd="0" destOrd="0" presId="urn:microsoft.com/office/officeart/2005/8/layout/chevron1"/>
    <dgm:cxn modelId="{6B4B9343-9B1D-489B-AEE4-C42444686BE1}" type="presOf" srcId="{ACC35E7E-EB55-4D4C-8244-7635031E2BA8}" destId="{333ACC18-0FE9-4649-84F7-AC21170EE8C5}" srcOrd="0" destOrd="0" presId="urn:microsoft.com/office/officeart/2005/8/layout/chevron1"/>
    <dgm:cxn modelId="{93EE5F5F-66B3-48C0-8CA0-2464CD1B3251}" srcId="{27F4EBB8-252D-4A30-B3F6-E35109B3A6A2}" destId="{B136D25F-C65D-4C70-AC67-E0A4526C3030}" srcOrd="3" destOrd="0" parTransId="{BF04865A-CD73-42B8-9201-3C76472DDAB6}" sibTransId="{C68263EA-239C-4F82-9209-36DB86FA6838}"/>
    <dgm:cxn modelId="{E5F07F16-459B-4705-A1D0-E27A90983637}" srcId="{27F4EBB8-252D-4A30-B3F6-E35109B3A6A2}" destId="{7EE69833-42E8-483E-BB43-118B84532EE9}" srcOrd="1" destOrd="0" parTransId="{5E8A83A3-79EF-42E0-968D-F1ABA6D736A1}" sibTransId="{1D4A33BA-D860-471C-A212-F475F76B1BE8}"/>
    <dgm:cxn modelId="{0C7251B5-039F-4BC2-AC93-17FA1E67DC6E}" srcId="{27F4EBB8-252D-4A30-B3F6-E35109B3A6A2}" destId="{572CD2E3-B58A-4359-88D8-96B2C51E6763}" srcOrd="0" destOrd="0" parTransId="{048CB1CB-2EFF-4EA7-9B4A-CA25898AF068}" sibTransId="{18041D17-5A08-4A48-9C43-6CE43456CBD3}"/>
    <dgm:cxn modelId="{B9F0B54B-A18D-42CD-BB20-FE44BDF784F5}" srcId="{27F4EBB8-252D-4A30-B3F6-E35109B3A6A2}" destId="{ACC35E7E-EB55-4D4C-8244-7635031E2BA8}" srcOrd="2" destOrd="0" parTransId="{D9E6E2C6-F4A9-4B65-83DF-FC40D19AACB4}" sibTransId="{50E8134A-737E-4F78-B894-0900F21419C8}"/>
    <dgm:cxn modelId="{5B2647A3-33AB-4CE9-8A77-2E1C5B78A9B2}" type="presOf" srcId="{B136D25F-C65D-4C70-AC67-E0A4526C3030}" destId="{8A33CA4D-AAE5-4123-9CA1-CD6C27D3D946}" srcOrd="0" destOrd="0" presId="urn:microsoft.com/office/officeart/2005/8/layout/chevron1"/>
    <dgm:cxn modelId="{B02A3778-98D9-4A8A-9E65-502F2EF64D7C}" type="presParOf" srcId="{5177C14F-27F2-4DD5-8200-C5B8720EDBB7}" destId="{C03D2DC1-9791-476A-A219-FCC09A330076}" srcOrd="0" destOrd="0" presId="urn:microsoft.com/office/officeart/2005/8/layout/chevron1"/>
    <dgm:cxn modelId="{53125546-59B0-4A80-A60D-FA5AE29E6280}" type="presParOf" srcId="{5177C14F-27F2-4DD5-8200-C5B8720EDBB7}" destId="{C4747EAA-9EDC-41E3-B59C-A36896DC977A}" srcOrd="1" destOrd="0" presId="urn:microsoft.com/office/officeart/2005/8/layout/chevron1"/>
    <dgm:cxn modelId="{5D56D552-8CE2-462B-8F74-3ED36ADA1C25}" type="presParOf" srcId="{5177C14F-27F2-4DD5-8200-C5B8720EDBB7}" destId="{FE99C3F1-8581-4429-819F-DA85478D615D}" srcOrd="2" destOrd="0" presId="urn:microsoft.com/office/officeart/2005/8/layout/chevron1"/>
    <dgm:cxn modelId="{108FFF49-A104-43A4-8F01-FB3CE3D4F6E4}" type="presParOf" srcId="{5177C14F-27F2-4DD5-8200-C5B8720EDBB7}" destId="{8008FBF7-6B87-4672-A38B-AB0A1A538346}" srcOrd="3" destOrd="0" presId="urn:microsoft.com/office/officeart/2005/8/layout/chevron1"/>
    <dgm:cxn modelId="{AE7F618B-9113-4206-BBCF-02C1D3BB63DD}" type="presParOf" srcId="{5177C14F-27F2-4DD5-8200-C5B8720EDBB7}" destId="{333ACC18-0FE9-4649-84F7-AC21170EE8C5}" srcOrd="4" destOrd="0" presId="urn:microsoft.com/office/officeart/2005/8/layout/chevron1"/>
    <dgm:cxn modelId="{1A46B3AD-3957-473B-A3FF-FB935C9345BB}" type="presParOf" srcId="{5177C14F-27F2-4DD5-8200-C5B8720EDBB7}" destId="{A87C35AC-487D-4F12-91BE-E92414110C19}" srcOrd="5" destOrd="0" presId="urn:microsoft.com/office/officeart/2005/8/layout/chevron1"/>
    <dgm:cxn modelId="{6E20B088-3D5C-4C96-BC2A-6B750DEF1C57}" type="presParOf" srcId="{5177C14F-27F2-4DD5-8200-C5B8720EDBB7}" destId="{8A33CA4D-AAE5-4123-9CA1-CD6C27D3D946}"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398B3A6-607B-4D1B-A52A-6B470183172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B2C40A2-0E2D-47C8-853A-5068A94C93D8}">
      <dgm:prSet phldrT="[Text]"/>
      <dgm:spPr>
        <a:solidFill>
          <a:srgbClr val="552684"/>
        </a:solidFill>
      </dgm:spPr>
      <dgm:t>
        <a:bodyPr/>
        <a:lstStyle/>
        <a:p>
          <a:r>
            <a:rPr lang="en-US" dirty="0"/>
            <a:t>Collaboration</a:t>
          </a:r>
        </a:p>
      </dgm:t>
    </dgm:pt>
    <dgm:pt modelId="{E6353FEF-A603-4C26-9B47-96097E8FEDB1}" type="parTrans" cxnId="{92BE5719-15FF-4D77-A6F6-05DFF829354D}">
      <dgm:prSet/>
      <dgm:spPr/>
      <dgm:t>
        <a:bodyPr/>
        <a:lstStyle/>
        <a:p>
          <a:endParaRPr lang="en-US"/>
        </a:p>
      </dgm:t>
    </dgm:pt>
    <dgm:pt modelId="{03267549-9C2B-48D7-A863-7F09E84EAE21}" type="sibTrans" cxnId="{92BE5719-15FF-4D77-A6F6-05DFF829354D}">
      <dgm:prSet/>
      <dgm:spPr/>
      <dgm:t>
        <a:bodyPr/>
        <a:lstStyle/>
        <a:p>
          <a:endParaRPr lang="en-US"/>
        </a:p>
      </dgm:t>
    </dgm:pt>
    <dgm:pt modelId="{07135418-A415-459E-B136-D8E1B57430D2}">
      <dgm:prSet phldrT="[Text]"/>
      <dgm:spPr/>
      <dgm:t>
        <a:bodyPr/>
        <a:lstStyle/>
        <a:p>
          <a:r>
            <a:rPr lang="en-US" dirty="0"/>
            <a:t>Work together; act as one</a:t>
          </a:r>
        </a:p>
      </dgm:t>
    </dgm:pt>
    <dgm:pt modelId="{D5C55B58-19E9-4ABF-94AA-D24040F816BA}" type="parTrans" cxnId="{AF25C51C-825F-49EC-A59D-C4B0570F0393}">
      <dgm:prSet/>
      <dgm:spPr/>
      <dgm:t>
        <a:bodyPr/>
        <a:lstStyle/>
        <a:p>
          <a:endParaRPr lang="en-US"/>
        </a:p>
      </dgm:t>
    </dgm:pt>
    <dgm:pt modelId="{919E38B2-B29B-48DE-A436-1F198C648863}" type="sibTrans" cxnId="{AF25C51C-825F-49EC-A59D-C4B0570F0393}">
      <dgm:prSet/>
      <dgm:spPr/>
      <dgm:t>
        <a:bodyPr/>
        <a:lstStyle/>
        <a:p>
          <a:endParaRPr lang="en-US"/>
        </a:p>
      </dgm:t>
    </dgm:pt>
    <dgm:pt modelId="{229D030C-72A1-48A4-AB54-236762230848}">
      <dgm:prSet phldrT="[Text]"/>
      <dgm:spPr>
        <a:solidFill>
          <a:srgbClr val="00A9B9"/>
        </a:solidFill>
      </dgm:spPr>
      <dgm:t>
        <a:bodyPr/>
        <a:lstStyle/>
        <a:p>
          <a:r>
            <a:rPr lang="en-US" dirty="0"/>
            <a:t>Leadership</a:t>
          </a:r>
        </a:p>
      </dgm:t>
    </dgm:pt>
    <dgm:pt modelId="{BC2E79DF-6F76-4A26-B61A-1D2DF6B6E333}" type="parTrans" cxnId="{8EC5C1B9-8411-4995-A274-681F7BFA3178}">
      <dgm:prSet/>
      <dgm:spPr/>
      <dgm:t>
        <a:bodyPr/>
        <a:lstStyle/>
        <a:p>
          <a:endParaRPr lang="en-US"/>
        </a:p>
      </dgm:t>
    </dgm:pt>
    <dgm:pt modelId="{4F24124D-5AF2-4997-827C-3A87B9DB67A8}" type="sibTrans" cxnId="{8EC5C1B9-8411-4995-A274-681F7BFA3178}">
      <dgm:prSet/>
      <dgm:spPr/>
      <dgm:t>
        <a:bodyPr/>
        <a:lstStyle/>
        <a:p>
          <a:endParaRPr lang="en-US"/>
        </a:p>
      </dgm:t>
    </dgm:pt>
    <dgm:pt modelId="{90D8F2DE-A5B6-40AF-A017-A291DFFA2F72}">
      <dgm:prSet phldrT="[Text]"/>
      <dgm:spPr/>
      <dgm:t>
        <a:bodyPr/>
        <a:lstStyle/>
        <a:p>
          <a:r>
            <a:rPr lang="en-US" dirty="0"/>
            <a:t>Build trust; make a difference</a:t>
          </a:r>
        </a:p>
      </dgm:t>
    </dgm:pt>
    <dgm:pt modelId="{34F0F3DD-FB92-489D-8C98-A959605B380C}" type="parTrans" cxnId="{40377706-F51F-4676-841A-BC69F1161E6E}">
      <dgm:prSet/>
      <dgm:spPr/>
      <dgm:t>
        <a:bodyPr/>
        <a:lstStyle/>
        <a:p>
          <a:endParaRPr lang="en-US"/>
        </a:p>
      </dgm:t>
    </dgm:pt>
    <dgm:pt modelId="{B05C3585-ADC0-413E-9191-F75CD5F5AFB1}" type="sibTrans" cxnId="{40377706-F51F-4676-841A-BC69F1161E6E}">
      <dgm:prSet/>
      <dgm:spPr/>
      <dgm:t>
        <a:bodyPr/>
        <a:lstStyle/>
        <a:p>
          <a:endParaRPr lang="en-US"/>
        </a:p>
      </dgm:t>
    </dgm:pt>
    <dgm:pt modelId="{1AD0FE56-DFC2-4BC6-95BA-9BBE388A67B0}">
      <dgm:prSet phldrT="[Text]"/>
      <dgm:spPr>
        <a:solidFill>
          <a:srgbClr val="FF7400"/>
        </a:solidFill>
      </dgm:spPr>
      <dgm:t>
        <a:bodyPr/>
        <a:lstStyle/>
        <a:p>
          <a:r>
            <a:rPr lang="en-US" dirty="0"/>
            <a:t>Excellence</a:t>
          </a:r>
        </a:p>
      </dgm:t>
    </dgm:pt>
    <dgm:pt modelId="{88A1A26E-FDB7-4A9F-953C-65F09C84ABC7}" type="parTrans" cxnId="{D5291105-7EAB-4125-8150-6CD3DA08B64C}">
      <dgm:prSet/>
      <dgm:spPr/>
      <dgm:t>
        <a:bodyPr/>
        <a:lstStyle/>
        <a:p>
          <a:endParaRPr lang="en-US"/>
        </a:p>
      </dgm:t>
    </dgm:pt>
    <dgm:pt modelId="{96C358F6-F15A-4F5A-8D05-5A303F4ABA1F}" type="sibTrans" cxnId="{D5291105-7EAB-4125-8150-6CD3DA08B64C}">
      <dgm:prSet/>
      <dgm:spPr/>
      <dgm:t>
        <a:bodyPr/>
        <a:lstStyle/>
        <a:p>
          <a:endParaRPr lang="en-US"/>
        </a:p>
      </dgm:t>
    </dgm:pt>
    <dgm:pt modelId="{9CD3442A-8D63-46BA-995C-43BCD384E84A}">
      <dgm:prSet phldrT="[Text]"/>
      <dgm:spPr>
        <a:solidFill>
          <a:schemeClr val="bg1"/>
        </a:solidFill>
      </dgm:spPr>
      <dgm:t>
        <a:bodyPr/>
        <a:lstStyle/>
        <a:p>
          <a:r>
            <a:rPr lang="en-US" dirty="0"/>
            <a:t>Deliver quality; pursue greatness</a:t>
          </a:r>
        </a:p>
      </dgm:t>
    </dgm:pt>
    <dgm:pt modelId="{821228EE-BD87-49E7-AEAA-9225868DAA1B}" type="parTrans" cxnId="{B1BB1210-8C3A-4737-8CC5-0048C7CC7A6D}">
      <dgm:prSet/>
      <dgm:spPr/>
      <dgm:t>
        <a:bodyPr/>
        <a:lstStyle/>
        <a:p>
          <a:endParaRPr lang="en-US"/>
        </a:p>
      </dgm:t>
    </dgm:pt>
    <dgm:pt modelId="{B6689618-E05F-4C3B-9108-0A41EB241205}" type="sibTrans" cxnId="{B1BB1210-8C3A-4737-8CC5-0048C7CC7A6D}">
      <dgm:prSet/>
      <dgm:spPr/>
      <dgm:t>
        <a:bodyPr/>
        <a:lstStyle/>
        <a:p>
          <a:endParaRPr lang="en-US"/>
        </a:p>
      </dgm:t>
    </dgm:pt>
    <dgm:pt modelId="{D4719057-0F0B-403C-9ADE-1A1E91A09A28}">
      <dgm:prSet phldrT="[Text]"/>
      <dgm:spPr>
        <a:solidFill>
          <a:srgbClr val="C8BEAC"/>
        </a:solidFill>
      </dgm:spPr>
      <dgm:t>
        <a:bodyPr/>
        <a:lstStyle/>
        <a:p>
          <a:r>
            <a:rPr lang="en-US" dirty="0"/>
            <a:t>Agility</a:t>
          </a:r>
        </a:p>
      </dgm:t>
    </dgm:pt>
    <dgm:pt modelId="{38729D45-95DF-4B27-A0A1-BA4CF281BDF6}" type="parTrans" cxnId="{46C4962E-2ABD-459E-A267-25DE237E53E4}">
      <dgm:prSet/>
      <dgm:spPr/>
      <dgm:t>
        <a:bodyPr/>
        <a:lstStyle/>
        <a:p>
          <a:endParaRPr lang="en-US"/>
        </a:p>
      </dgm:t>
    </dgm:pt>
    <dgm:pt modelId="{592A581F-74D0-491F-BB48-C34CF0248D59}" type="sibTrans" cxnId="{46C4962E-2ABD-459E-A267-25DE237E53E4}">
      <dgm:prSet/>
      <dgm:spPr/>
      <dgm:t>
        <a:bodyPr/>
        <a:lstStyle/>
        <a:p>
          <a:endParaRPr lang="en-US"/>
        </a:p>
      </dgm:t>
    </dgm:pt>
    <dgm:pt modelId="{F25E0A15-863D-4828-907C-998B4E965663}">
      <dgm:prSet phldrT="[Text]"/>
      <dgm:spPr>
        <a:solidFill>
          <a:schemeClr val="bg1"/>
        </a:solidFill>
      </dgm:spPr>
      <dgm:t>
        <a:bodyPr/>
        <a:lstStyle/>
        <a:p>
          <a:r>
            <a:rPr lang="en-US" dirty="0"/>
            <a:t>See with clarity </a:t>
          </a:r>
          <a:r>
            <a:rPr lang="en-US" i="1" dirty="0"/>
            <a:t>change</a:t>
          </a:r>
          <a:r>
            <a:rPr lang="en-US" dirty="0"/>
            <a:t>; act with purpose</a:t>
          </a:r>
        </a:p>
      </dgm:t>
    </dgm:pt>
    <dgm:pt modelId="{73B3ABC4-5342-47A1-B991-4293876361EC}" type="parTrans" cxnId="{7F625764-7836-4FC8-B88F-A5523258E523}">
      <dgm:prSet/>
      <dgm:spPr/>
      <dgm:t>
        <a:bodyPr/>
        <a:lstStyle/>
        <a:p>
          <a:endParaRPr lang="en-US"/>
        </a:p>
      </dgm:t>
    </dgm:pt>
    <dgm:pt modelId="{6A64C4CA-4978-4860-801E-0AEE7979A637}" type="sibTrans" cxnId="{7F625764-7836-4FC8-B88F-A5523258E523}">
      <dgm:prSet/>
      <dgm:spPr/>
      <dgm:t>
        <a:bodyPr/>
        <a:lstStyle/>
        <a:p>
          <a:endParaRPr lang="en-US"/>
        </a:p>
      </dgm:t>
    </dgm:pt>
    <dgm:pt modelId="{5C95F88B-0584-4363-8D97-41109770F5B7}">
      <dgm:prSet phldrT="[Text]"/>
      <dgm:spPr>
        <a:solidFill>
          <a:srgbClr val="552684"/>
        </a:solidFill>
      </dgm:spPr>
      <dgm:t>
        <a:bodyPr/>
        <a:lstStyle/>
        <a:p>
          <a:r>
            <a:rPr lang="en-US" dirty="0"/>
            <a:t>Respect</a:t>
          </a:r>
        </a:p>
      </dgm:t>
    </dgm:pt>
    <dgm:pt modelId="{23431CF8-4903-42ED-9209-CAEEE2E9A70D}" type="parTrans" cxnId="{0883C511-DBD1-4225-A1C9-08581EBE8E55}">
      <dgm:prSet/>
      <dgm:spPr/>
      <dgm:t>
        <a:bodyPr/>
        <a:lstStyle/>
        <a:p>
          <a:endParaRPr lang="en-US"/>
        </a:p>
      </dgm:t>
    </dgm:pt>
    <dgm:pt modelId="{D11B6BED-79DC-4585-B2AE-8106ECB408D2}" type="sibTrans" cxnId="{0883C511-DBD1-4225-A1C9-08581EBE8E55}">
      <dgm:prSet/>
      <dgm:spPr/>
      <dgm:t>
        <a:bodyPr/>
        <a:lstStyle/>
        <a:p>
          <a:endParaRPr lang="en-US"/>
        </a:p>
      </dgm:t>
    </dgm:pt>
    <dgm:pt modelId="{8CEF2407-E393-4CE7-8A83-09A4BEA73AE1}">
      <dgm:prSet phldrT="[Text]"/>
      <dgm:spPr>
        <a:solidFill>
          <a:schemeClr val="bg1"/>
        </a:solidFill>
      </dgm:spPr>
      <dgm:t>
        <a:bodyPr/>
        <a:lstStyle/>
        <a:p>
          <a:r>
            <a:rPr lang="en-US" dirty="0"/>
            <a:t>Care deeply; listen intently</a:t>
          </a:r>
        </a:p>
      </dgm:t>
    </dgm:pt>
    <dgm:pt modelId="{62273E70-1CB4-426C-90EB-B1C1BC649A66}" type="parTrans" cxnId="{A96D577F-F28C-4785-9897-975BFA4CD6FB}">
      <dgm:prSet/>
      <dgm:spPr/>
      <dgm:t>
        <a:bodyPr/>
        <a:lstStyle/>
        <a:p>
          <a:endParaRPr lang="en-US"/>
        </a:p>
      </dgm:t>
    </dgm:pt>
    <dgm:pt modelId="{716A17EA-9AEA-45B8-AEB4-F3A4B27DE301}" type="sibTrans" cxnId="{A96D577F-F28C-4785-9897-975BFA4CD6FB}">
      <dgm:prSet/>
      <dgm:spPr/>
      <dgm:t>
        <a:bodyPr/>
        <a:lstStyle/>
        <a:p>
          <a:endParaRPr lang="en-US"/>
        </a:p>
      </dgm:t>
    </dgm:pt>
    <dgm:pt modelId="{BC6603D0-2D7C-426C-89F7-0B135E70B086}">
      <dgm:prSet phldrT="[Text]"/>
      <dgm:spPr>
        <a:solidFill>
          <a:schemeClr val="bg1"/>
        </a:solidFill>
      </dgm:spPr>
      <dgm:t>
        <a:bodyPr/>
        <a:lstStyle/>
        <a:p>
          <a:r>
            <a:rPr lang="en-US" dirty="0"/>
            <a:t>Own your action; be aware of your impact</a:t>
          </a:r>
        </a:p>
      </dgm:t>
    </dgm:pt>
    <dgm:pt modelId="{1187A87D-F1C2-47AF-9CB3-5E6274ACB416}" type="parTrans" cxnId="{D21448EC-90A9-49CF-8962-433E84076BF0}">
      <dgm:prSet/>
      <dgm:spPr/>
      <dgm:t>
        <a:bodyPr/>
        <a:lstStyle/>
        <a:p>
          <a:endParaRPr lang="en-US"/>
        </a:p>
      </dgm:t>
    </dgm:pt>
    <dgm:pt modelId="{905975EE-692D-473B-936F-D4D533FA985C}" type="sibTrans" cxnId="{D21448EC-90A9-49CF-8962-433E84076BF0}">
      <dgm:prSet/>
      <dgm:spPr/>
      <dgm:t>
        <a:bodyPr/>
        <a:lstStyle/>
        <a:p>
          <a:endParaRPr lang="en-US"/>
        </a:p>
      </dgm:t>
    </dgm:pt>
    <dgm:pt modelId="{FA18F235-7D57-49C0-8B8D-0BA6A950DEAA}">
      <dgm:prSet phldrT="[Text]"/>
      <dgm:spPr>
        <a:solidFill>
          <a:srgbClr val="00A9B9"/>
        </a:solidFill>
      </dgm:spPr>
      <dgm:t>
        <a:bodyPr/>
        <a:lstStyle/>
        <a:p>
          <a:r>
            <a:rPr lang="en-US" dirty="0"/>
            <a:t>Responsibility</a:t>
          </a:r>
        </a:p>
      </dgm:t>
    </dgm:pt>
    <dgm:pt modelId="{D0B1405A-B792-4DAC-AD28-8BE85B4696B9}" type="parTrans" cxnId="{CAD52463-1E25-40B4-93BA-E307F88F0386}">
      <dgm:prSet/>
      <dgm:spPr/>
      <dgm:t>
        <a:bodyPr/>
        <a:lstStyle/>
        <a:p>
          <a:endParaRPr lang="en-US"/>
        </a:p>
      </dgm:t>
    </dgm:pt>
    <dgm:pt modelId="{203B4FB8-A2C8-48CC-A292-EFB2E4A73D0C}" type="sibTrans" cxnId="{CAD52463-1E25-40B4-93BA-E307F88F0386}">
      <dgm:prSet/>
      <dgm:spPr/>
      <dgm:t>
        <a:bodyPr/>
        <a:lstStyle/>
        <a:p>
          <a:endParaRPr lang="en-US"/>
        </a:p>
      </dgm:t>
    </dgm:pt>
    <dgm:pt modelId="{C4E4C49F-DD75-449B-9DDD-049A4D2E3EBA}" type="pres">
      <dgm:prSet presAssocID="{4398B3A6-607B-4D1B-A52A-6B4701831726}" presName="linear" presStyleCnt="0">
        <dgm:presLayoutVars>
          <dgm:animLvl val="lvl"/>
          <dgm:resizeHandles val="exact"/>
        </dgm:presLayoutVars>
      </dgm:prSet>
      <dgm:spPr/>
      <dgm:t>
        <a:bodyPr/>
        <a:lstStyle/>
        <a:p>
          <a:endParaRPr lang="en-US"/>
        </a:p>
      </dgm:t>
    </dgm:pt>
    <dgm:pt modelId="{A345A2FA-8A29-46E0-A964-73B6754B78FB}" type="pres">
      <dgm:prSet presAssocID="{1B2C40A2-0E2D-47C8-853A-5068A94C93D8}" presName="parentText" presStyleLbl="node1" presStyleIdx="0" presStyleCnt="6">
        <dgm:presLayoutVars>
          <dgm:chMax val="0"/>
          <dgm:bulletEnabled val="1"/>
        </dgm:presLayoutVars>
      </dgm:prSet>
      <dgm:spPr/>
      <dgm:t>
        <a:bodyPr/>
        <a:lstStyle/>
        <a:p>
          <a:endParaRPr lang="en-US"/>
        </a:p>
      </dgm:t>
    </dgm:pt>
    <dgm:pt modelId="{3893BCA9-5B20-4A5D-B2A6-EA462B0D7D5F}" type="pres">
      <dgm:prSet presAssocID="{1B2C40A2-0E2D-47C8-853A-5068A94C93D8}" presName="childText" presStyleLbl="revTx" presStyleIdx="0" presStyleCnt="6">
        <dgm:presLayoutVars>
          <dgm:bulletEnabled val="1"/>
        </dgm:presLayoutVars>
      </dgm:prSet>
      <dgm:spPr/>
      <dgm:t>
        <a:bodyPr/>
        <a:lstStyle/>
        <a:p>
          <a:endParaRPr lang="en-US"/>
        </a:p>
      </dgm:t>
    </dgm:pt>
    <dgm:pt modelId="{B857DD89-41D8-4E69-B67A-915674AE0868}" type="pres">
      <dgm:prSet presAssocID="{229D030C-72A1-48A4-AB54-236762230848}" presName="parentText" presStyleLbl="node1" presStyleIdx="1" presStyleCnt="6">
        <dgm:presLayoutVars>
          <dgm:chMax val="0"/>
          <dgm:bulletEnabled val="1"/>
        </dgm:presLayoutVars>
      </dgm:prSet>
      <dgm:spPr/>
      <dgm:t>
        <a:bodyPr/>
        <a:lstStyle/>
        <a:p>
          <a:endParaRPr lang="en-US"/>
        </a:p>
      </dgm:t>
    </dgm:pt>
    <dgm:pt modelId="{30FFB841-0F99-484D-B49B-AF847B6B3CF5}" type="pres">
      <dgm:prSet presAssocID="{229D030C-72A1-48A4-AB54-236762230848}" presName="childText" presStyleLbl="revTx" presStyleIdx="1" presStyleCnt="6">
        <dgm:presLayoutVars>
          <dgm:bulletEnabled val="1"/>
        </dgm:presLayoutVars>
      </dgm:prSet>
      <dgm:spPr/>
      <dgm:t>
        <a:bodyPr/>
        <a:lstStyle/>
        <a:p>
          <a:endParaRPr lang="en-US"/>
        </a:p>
      </dgm:t>
    </dgm:pt>
    <dgm:pt modelId="{059E2FFB-7E22-4C36-91AB-318A28B3586E}" type="pres">
      <dgm:prSet presAssocID="{1AD0FE56-DFC2-4BC6-95BA-9BBE388A67B0}" presName="parentText" presStyleLbl="node1" presStyleIdx="2" presStyleCnt="6">
        <dgm:presLayoutVars>
          <dgm:chMax val="0"/>
          <dgm:bulletEnabled val="1"/>
        </dgm:presLayoutVars>
      </dgm:prSet>
      <dgm:spPr/>
      <dgm:t>
        <a:bodyPr/>
        <a:lstStyle/>
        <a:p>
          <a:endParaRPr lang="en-US"/>
        </a:p>
      </dgm:t>
    </dgm:pt>
    <dgm:pt modelId="{CB43726A-6CD3-4D9D-8E0D-7DECC0993205}" type="pres">
      <dgm:prSet presAssocID="{1AD0FE56-DFC2-4BC6-95BA-9BBE388A67B0}" presName="childText" presStyleLbl="revTx" presStyleIdx="2" presStyleCnt="6">
        <dgm:presLayoutVars>
          <dgm:bulletEnabled val="1"/>
        </dgm:presLayoutVars>
      </dgm:prSet>
      <dgm:spPr/>
      <dgm:t>
        <a:bodyPr/>
        <a:lstStyle/>
        <a:p>
          <a:endParaRPr lang="en-US"/>
        </a:p>
      </dgm:t>
    </dgm:pt>
    <dgm:pt modelId="{FBFB9AB2-D335-479B-A167-FB9A28F68F0F}" type="pres">
      <dgm:prSet presAssocID="{D4719057-0F0B-403C-9ADE-1A1E91A09A28}" presName="parentText" presStyleLbl="node1" presStyleIdx="3" presStyleCnt="6">
        <dgm:presLayoutVars>
          <dgm:chMax val="0"/>
          <dgm:bulletEnabled val="1"/>
        </dgm:presLayoutVars>
      </dgm:prSet>
      <dgm:spPr/>
      <dgm:t>
        <a:bodyPr/>
        <a:lstStyle/>
        <a:p>
          <a:endParaRPr lang="en-US"/>
        </a:p>
      </dgm:t>
    </dgm:pt>
    <dgm:pt modelId="{7F3DCE6C-3C55-4CC7-9DE1-864D53AEE134}" type="pres">
      <dgm:prSet presAssocID="{D4719057-0F0B-403C-9ADE-1A1E91A09A28}" presName="childText" presStyleLbl="revTx" presStyleIdx="3" presStyleCnt="6">
        <dgm:presLayoutVars>
          <dgm:bulletEnabled val="1"/>
        </dgm:presLayoutVars>
      </dgm:prSet>
      <dgm:spPr/>
      <dgm:t>
        <a:bodyPr/>
        <a:lstStyle/>
        <a:p>
          <a:endParaRPr lang="en-US"/>
        </a:p>
      </dgm:t>
    </dgm:pt>
    <dgm:pt modelId="{6436531A-2E38-4351-9CF9-6EE549F6FE83}" type="pres">
      <dgm:prSet presAssocID="{5C95F88B-0584-4363-8D97-41109770F5B7}" presName="parentText" presStyleLbl="node1" presStyleIdx="4" presStyleCnt="6">
        <dgm:presLayoutVars>
          <dgm:chMax val="0"/>
          <dgm:bulletEnabled val="1"/>
        </dgm:presLayoutVars>
      </dgm:prSet>
      <dgm:spPr/>
      <dgm:t>
        <a:bodyPr/>
        <a:lstStyle/>
        <a:p>
          <a:endParaRPr lang="en-US"/>
        </a:p>
      </dgm:t>
    </dgm:pt>
    <dgm:pt modelId="{C023DBF9-939D-4C02-8D6E-04B2CC80E9A1}" type="pres">
      <dgm:prSet presAssocID="{5C95F88B-0584-4363-8D97-41109770F5B7}" presName="childText" presStyleLbl="revTx" presStyleIdx="4" presStyleCnt="6">
        <dgm:presLayoutVars>
          <dgm:bulletEnabled val="1"/>
        </dgm:presLayoutVars>
      </dgm:prSet>
      <dgm:spPr/>
      <dgm:t>
        <a:bodyPr/>
        <a:lstStyle/>
        <a:p>
          <a:endParaRPr lang="en-US"/>
        </a:p>
      </dgm:t>
    </dgm:pt>
    <dgm:pt modelId="{9EE67748-E6BF-43AE-AECA-171DD9EC0D3C}" type="pres">
      <dgm:prSet presAssocID="{FA18F235-7D57-49C0-8B8D-0BA6A950DEAA}" presName="parentText" presStyleLbl="node1" presStyleIdx="5" presStyleCnt="6">
        <dgm:presLayoutVars>
          <dgm:chMax val="0"/>
          <dgm:bulletEnabled val="1"/>
        </dgm:presLayoutVars>
      </dgm:prSet>
      <dgm:spPr/>
      <dgm:t>
        <a:bodyPr/>
        <a:lstStyle/>
        <a:p>
          <a:endParaRPr lang="en-US"/>
        </a:p>
      </dgm:t>
    </dgm:pt>
    <dgm:pt modelId="{79F45E7F-D52F-4F0D-88EE-7A9284B52D58}" type="pres">
      <dgm:prSet presAssocID="{FA18F235-7D57-49C0-8B8D-0BA6A950DEAA}" presName="childText" presStyleLbl="revTx" presStyleIdx="5" presStyleCnt="6">
        <dgm:presLayoutVars>
          <dgm:bulletEnabled val="1"/>
        </dgm:presLayoutVars>
      </dgm:prSet>
      <dgm:spPr/>
      <dgm:t>
        <a:bodyPr/>
        <a:lstStyle/>
        <a:p>
          <a:endParaRPr lang="en-US"/>
        </a:p>
      </dgm:t>
    </dgm:pt>
  </dgm:ptLst>
  <dgm:cxnLst>
    <dgm:cxn modelId="{B1BB1210-8C3A-4737-8CC5-0048C7CC7A6D}" srcId="{1AD0FE56-DFC2-4BC6-95BA-9BBE388A67B0}" destId="{9CD3442A-8D63-46BA-995C-43BCD384E84A}" srcOrd="0" destOrd="0" parTransId="{821228EE-BD87-49E7-AEAA-9225868DAA1B}" sibTransId="{B6689618-E05F-4C3B-9108-0A41EB241205}"/>
    <dgm:cxn modelId="{92BE5719-15FF-4D77-A6F6-05DFF829354D}" srcId="{4398B3A6-607B-4D1B-A52A-6B4701831726}" destId="{1B2C40A2-0E2D-47C8-853A-5068A94C93D8}" srcOrd="0" destOrd="0" parTransId="{E6353FEF-A603-4C26-9B47-96097E8FEDB1}" sibTransId="{03267549-9C2B-48D7-A863-7F09E84EAE21}"/>
    <dgm:cxn modelId="{47C7EF26-1AE8-441A-A1F9-7F91129407AB}" type="presOf" srcId="{1AD0FE56-DFC2-4BC6-95BA-9BBE388A67B0}" destId="{059E2FFB-7E22-4C36-91AB-318A28B3586E}" srcOrd="0" destOrd="0" presId="urn:microsoft.com/office/officeart/2005/8/layout/vList2"/>
    <dgm:cxn modelId="{7AAF89A7-BEE7-43B6-938B-473E2E6ECEE7}" type="presOf" srcId="{07135418-A415-459E-B136-D8E1B57430D2}" destId="{3893BCA9-5B20-4A5D-B2A6-EA462B0D7D5F}" srcOrd="0" destOrd="0" presId="urn:microsoft.com/office/officeart/2005/8/layout/vList2"/>
    <dgm:cxn modelId="{81971809-6266-4097-BC14-2A1232139942}" type="presOf" srcId="{229D030C-72A1-48A4-AB54-236762230848}" destId="{B857DD89-41D8-4E69-B67A-915674AE0868}" srcOrd="0" destOrd="0" presId="urn:microsoft.com/office/officeart/2005/8/layout/vList2"/>
    <dgm:cxn modelId="{3029568C-5939-4A03-9404-F5B103511E8C}" type="presOf" srcId="{5C95F88B-0584-4363-8D97-41109770F5B7}" destId="{6436531A-2E38-4351-9CF9-6EE549F6FE83}" srcOrd="0" destOrd="0" presId="urn:microsoft.com/office/officeart/2005/8/layout/vList2"/>
    <dgm:cxn modelId="{8EC5C1B9-8411-4995-A274-681F7BFA3178}" srcId="{4398B3A6-607B-4D1B-A52A-6B4701831726}" destId="{229D030C-72A1-48A4-AB54-236762230848}" srcOrd="1" destOrd="0" parTransId="{BC2E79DF-6F76-4A26-B61A-1D2DF6B6E333}" sibTransId="{4F24124D-5AF2-4997-827C-3A87B9DB67A8}"/>
    <dgm:cxn modelId="{46C4962E-2ABD-459E-A267-25DE237E53E4}" srcId="{4398B3A6-607B-4D1B-A52A-6B4701831726}" destId="{D4719057-0F0B-403C-9ADE-1A1E91A09A28}" srcOrd="3" destOrd="0" parTransId="{38729D45-95DF-4B27-A0A1-BA4CF281BDF6}" sibTransId="{592A581F-74D0-491F-BB48-C34CF0248D59}"/>
    <dgm:cxn modelId="{DE6A66EF-5082-40DD-80A6-F3225C114065}" type="presOf" srcId="{8CEF2407-E393-4CE7-8A83-09A4BEA73AE1}" destId="{C023DBF9-939D-4C02-8D6E-04B2CC80E9A1}" srcOrd="0" destOrd="0" presId="urn:microsoft.com/office/officeart/2005/8/layout/vList2"/>
    <dgm:cxn modelId="{AF25C51C-825F-49EC-A59D-C4B0570F0393}" srcId="{1B2C40A2-0E2D-47C8-853A-5068A94C93D8}" destId="{07135418-A415-459E-B136-D8E1B57430D2}" srcOrd="0" destOrd="0" parTransId="{D5C55B58-19E9-4ABF-94AA-D24040F816BA}" sibTransId="{919E38B2-B29B-48DE-A436-1F198C648863}"/>
    <dgm:cxn modelId="{B178CBC7-5FB5-4DD6-8198-C96B935FE809}" type="presOf" srcId="{9CD3442A-8D63-46BA-995C-43BCD384E84A}" destId="{CB43726A-6CD3-4D9D-8E0D-7DECC0993205}" srcOrd="0" destOrd="0" presId="urn:microsoft.com/office/officeart/2005/8/layout/vList2"/>
    <dgm:cxn modelId="{6BC95978-FC6A-4CA5-A851-D112945C9EE7}" type="presOf" srcId="{4398B3A6-607B-4D1B-A52A-6B4701831726}" destId="{C4E4C49F-DD75-449B-9DDD-049A4D2E3EBA}" srcOrd="0" destOrd="0" presId="urn:microsoft.com/office/officeart/2005/8/layout/vList2"/>
    <dgm:cxn modelId="{4FE66C24-B581-4114-A1B6-4480E57EF6FB}" type="presOf" srcId="{90D8F2DE-A5B6-40AF-A017-A291DFFA2F72}" destId="{30FFB841-0F99-484D-B49B-AF847B6B3CF5}" srcOrd="0" destOrd="0" presId="urn:microsoft.com/office/officeart/2005/8/layout/vList2"/>
    <dgm:cxn modelId="{D5291105-7EAB-4125-8150-6CD3DA08B64C}" srcId="{4398B3A6-607B-4D1B-A52A-6B4701831726}" destId="{1AD0FE56-DFC2-4BC6-95BA-9BBE388A67B0}" srcOrd="2" destOrd="0" parTransId="{88A1A26E-FDB7-4A9F-953C-65F09C84ABC7}" sibTransId="{96C358F6-F15A-4F5A-8D05-5A303F4ABA1F}"/>
    <dgm:cxn modelId="{076FA60D-B74D-4798-8B17-574075A3C635}" type="presOf" srcId="{FA18F235-7D57-49C0-8B8D-0BA6A950DEAA}" destId="{9EE67748-E6BF-43AE-AECA-171DD9EC0D3C}" srcOrd="0" destOrd="0" presId="urn:microsoft.com/office/officeart/2005/8/layout/vList2"/>
    <dgm:cxn modelId="{A96D577F-F28C-4785-9897-975BFA4CD6FB}" srcId="{5C95F88B-0584-4363-8D97-41109770F5B7}" destId="{8CEF2407-E393-4CE7-8A83-09A4BEA73AE1}" srcOrd="0" destOrd="0" parTransId="{62273E70-1CB4-426C-90EB-B1C1BC649A66}" sibTransId="{716A17EA-9AEA-45B8-AEB4-F3A4B27DE301}"/>
    <dgm:cxn modelId="{358ED8BF-E82C-4E7D-8CD8-902AF0CF80B6}" type="presOf" srcId="{F25E0A15-863D-4828-907C-998B4E965663}" destId="{7F3DCE6C-3C55-4CC7-9DE1-864D53AEE134}" srcOrd="0" destOrd="0" presId="urn:microsoft.com/office/officeart/2005/8/layout/vList2"/>
    <dgm:cxn modelId="{7F625764-7836-4FC8-B88F-A5523258E523}" srcId="{D4719057-0F0B-403C-9ADE-1A1E91A09A28}" destId="{F25E0A15-863D-4828-907C-998B4E965663}" srcOrd="0" destOrd="0" parTransId="{73B3ABC4-5342-47A1-B991-4293876361EC}" sibTransId="{6A64C4CA-4978-4860-801E-0AEE7979A637}"/>
    <dgm:cxn modelId="{7D744717-7F0D-4662-9479-C45202F868D3}" type="presOf" srcId="{D4719057-0F0B-403C-9ADE-1A1E91A09A28}" destId="{FBFB9AB2-D335-479B-A167-FB9A28F68F0F}" srcOrd="0" destOrd="0" presId="urn:microsoft.com/office/officeart/2005/8/layout/vList2"/>
    <dgm:cxn modelId="{40377706-F51F-4676-841A-BC69F1161E6E}" srcId="{229D030C-72A1-48A4-AB54-236762230848}" destId="{90D8F2DE-A5B6-40AF-A017-A291DFFA2F72}" srcOrd="0" destOrd="0" parTransId="{34F0F3DD-FB92-489D-8C98-A959605B380C}" sibTransId="{B05C3585-ADC0-413E-9191-F75CD5F5AFB1}"/>
    <dgm:cxn modelId="{143C68A4-9175-4649-A0A2-41CF9E49FF27}" type="presOf" srcId="{BC6603D0-2D7C-426C-89F7-0B135E70B086}" destId="{79F45E7F-D52F-4F0D-88EE-7A9284B52D58}" srcOrd="0" destOrd="0" presId="urn:microsoft.com/office/officeart/2005/8/layout/vList2"/>
    <dgm:cxn modelId="{F4095713-A854-422B-B45F-4D44394ABA7D}" type="presOf" srcId="{1B2C40A2-0E2D-47C8-853A-5068A94C93D8}" destId="{A345A2FA-8A29-46E0-A964-73B6754B78FB}" srcOrd="0" destOrd="0" presId="urn:microsoft.com/office/officeart/2005/8/layout/vList2"/>
    <dgm:cxn modelId="{CAD52463-1E25-40B4-93BA-E307F88F0386}" srcId="{4398B3A6-607B-4D1B-A52A-6B4701831726}" destId="{FA18F235-7D57-49C0-8B8D-0BA6A950DEAA}" srcOrd="5" destOrd="0" parTransId="{D0B1405A-B792-4DAC-AD28-8BE85B4696B9}" sibTransId="{203B4FB8-A2C8-48CC-A292-EFB2E4A73D0C}"/>
    <dgm:cxn modelId="{0883C511-DBD1-4225-A1C9-08581EBE8E55}" srcId="{4398B3A6-607B-4D1B-A52A-6B4701831726}" destId="{5C95F88B-0584-4363-8D97-41109770F5B7}" srcOrd="4" destOrd="0" parTransId="{23431CF8-4903-42ED-9209-CAEEE2E9A70D}" sibTransId="{D11B6BED-79DC-4585-B2AE-8106ECB408D2}"/>
    <dgm:cxn modelId="{D21448EC-90A9-49CF-8962-433E84076BF0}" srcId="{FA18F235-7D57-49C0-8B8D-0BA6A950DEAA}" destId="{BC6603D0-2D7C-426C-89F7-0B135E70B086}" srcOrd="0" destOrd="0" parTransId="{1187A87D-F1C2-47AF-9CB3-5E6274ACB416}" sibTransId="{905975EE-692D-473B-936F-D4D533FA985C}"/>
    <dgm:cxn modelId="{D6FAFC76-4E53-4D44-A065-B1BD2A6C5F2A}" type="presParOf" srcId="{C4E4C49F-DD75-449B-9DDD-049A4D2E3EBA}" destId="{A345A2FA-8A29-46E0-A964-73B6754B78FB}" srcOrd="0" destOrd="0" presId="urn:microsoft.com/office/officeart/2005/8/layout/vList2"/>
    <dgm:cxn modelId="{83620D3F-6198-4908-8CBC-A2A617A6CE17}" type="presParOf" srcId="{C4E4C49F-DD75-449B-9DDD-049A4D2E3EBA}" destId="{3893BCA9-5B20-4A5D-B2A6-EA462B0D7D5F}" srcOrd="1" destOrd="0" presId="urn:microsoft.com/office/officeart/2005/8/layout/vList2"/>
    <dgm:cxn modelId="{B8C6D455-4E0C-40F1-A6E6-72C58A560131}" type="presParOf" srcId="{C4E4C49F-DD75-449B-9DDD-049A4D2E3EBA}" destId="{B857DD89-41D8-4E69-B67A-915674AE0868}" srcOrd="2" destOrd="0" presId="urn:microsoft.com/office/officeart/2005/8/layout/vList2"/>
    <dgm:cxn modelId="{202483AD-FC57-4CEF-8843-100F2C4CAC1D}" type="presParOf" srcId="{C4E4C49F-DD75-449B-9DDD-049A4D2E3EBA}" destId="{30FFB841-0F99-484D-B49B-AF847B6B3CF5}" srcOrd="3" destOrd="0" presId="urn:microsoft.com/office/officeart/2005/8/layout/vList2"/>
    <dgm:cxn modelId="{C44FA0D2-5054-4B59-8649-2D2850488E32}" type="presParOf" srcId="{C4E4C49F-DD75-449B-9DDD-049A4D2E3EBA}" destId="{059E2FFB-7E22-4C36-91AB-318A28B3586E}" srcOrd="4" destOrd="0" presId="urn:microsoft.com/office/officeart/2005/8/layout/vList2"/>
    <dgm:cxn modelId="{B6A2B38C-4A56-4A73-BE41-DB2779B167F5}" type="presParOf" srcId="{C4E4C49F-DD75-449B-9DDD-049A4D2E3EBA}" destId="{CB43726A-6CD3-4D9D-8E0D-7DECC0993205}" srcOrd="5" destOrd="0" presId="urn:microsoft.com/office/officeart/2005/8/layout/vList2"/>
    <dgm:cxn modelId="{10E5DC2C-6CA8-419B-A494-9173D7AEA097}" type="presParOf" srcId="{C4E4C49F-DD75-449B-9DDD-049A4D2E3EBA}" destId="{FBFB9AB2-D335-479B-A167-FB9A28F68F0F}" srcOrd="6" destOrd="0" presId="urn:microsoft.com/office/officeart/2005/8/layout/vList2"/>
    <dgm:cxn modelId="{D0B3A12B-E4B5-4434-B7F5-B70616B87357}" type="presParOf" srcId="{C4E4C49F-DD75-449B-9DDD-049A4D2E3EBA}" destId="{7F3DCE6C-3C55-4CC7-9DE1-864D53AEE134}" srcOrd="7" destOrd="0" presId="urn:microsoft.com/office/officeart/2005/8/layout/vList2"/>
    <dgm:cxn modelId="{C3E5FD40-F272-4C80-A345-64B30B49DA6D}" type="presParOf" srcId="{C4E4C49F-DD75-449B-9DDD-049A4D2E3EBA}" destId="{6436531A-2E38-4351-9CF9-6EE549F6FE83}" srcOrd="8" destOrd="0" presId="urn:microsoft.com/office/officeart/2005/8/layout/vList2"/>
    <dgm:cxn modelId="{E7D89425-B7A3-4E6D-B947-8B941811523C}" type="presParOf" srcId="{C4E4C49F-DD75-449B-9DDD-049A4D2E3EBA}" destId="{C023DBF9-939D-4C02-8D6E-04B2CC80E9A1}" srcOrd="9" destOrd="0" presId="urn:microsoft.com/office/officeart/2005/8/layout/vList2"/>
    <dgm:cxn modelId="{9400B578-2D52-44F3-8D13-82829769E2A0}" type="presParOf" srcId="{C4E4C49F-DD75-449B-9DDD-049A4D2E3EBA}" destId="{9EE67748-E6BF-43AE-AECA-171DD9EC0D3C}" srcOrd="10" destOrd="0" presId="urn:microsoft.com/office/officeart/2005/8/layout/vList2"/>
    <dgm:cxn modelId="{3CDE2C05-B42C-4417-9256-13DC1F9BCB0B}" type="presParOf" srcId="{C4E4C49F-DD75-449B-9DDD-049A4D2E3EBA}" destId="{79F45E7F-D52F-4F0D-88EE-7A9284B52D58}" srcOrd="1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06D3B4D-7103-4342-9EB7-E94541E81216}" type="doc">
      <dgm:prSet loTypeId="urn:microsoft.com/office/officeart/2005/8/layout/chart3" loCatId="cycle" qsTypeId="urn:microsoft.com/office/officeart/2005/8/quickstyle/simple1" qsCatId="simple" csTypeId="urn:microsoft.com/office/officeart/2005/8/colors/accent1_2" csCatId="accent1" phldr="1"/>
      <dgm:spPr/>
    </dgm:pt>
    <dgm:pt modelId="{00E82F74-12E5-4742-B7DB-A8691D826182}">
      <dgm:prSet phldrT="[Text]"/>
      <dgm:spPr/>
      <dgm:t>
        <a:bodyPr/>
        <a:lstStyle/>
        <a:p>
          <a:r>
            <a:rPr lang="en-US" dirty="0"/>
            <a:t>Records Management</a:t>
          </a:r>
        </a:p>
      </dgm:t>
    </dgm:pt>
    <dgm:pt modelId="{4E76560A-CB82-40C3-88BA-58DFA3BF0143}" type="parTrans" cxnId="{7C3F3BC6-227A-431A-9F9F-8776F6786591}">
      <dgm:prSet/>
      <dgm:spPr/>
      <dgm:t>
        <a:bodyPr/>
        <a:lstStyle/>
        <a:p>
          <a:endParaRPr lang="en-US"/>
        </a:p>
      </dgm:t>
    </dgm:pt>
    <dgm:pt modelId="{2BA904DE-8E3A-48D9-A79B-7390FEC8457C}" type="sibTrans" cxnId="{7C3F3BC6-227A-431A-9F9F-8776F6786591}">
      <dgm:prSet/>
      <dgm:spPr/>
      <dgm:t>
        <a:bodyPr/>
        <a:lstStyle/>
        <a:p>
          <a:endParaRPr lang="en-US"/>
        </a:p>
      </dgm:t>
    </dgm:pt>
    <dgm:pt modelId="{A960E122-F8EC-4B63-B5EA-43A61630DB94}">
      <dgm:prSet phldrT="[Text]"/>
      <dgm:spPr>
        <a:solidFill>
          <a:srgbClr val="00A7B5"/>
        </a:solidFill>
      </dgm:spPr>
      <dgm:t>
        <a:bodyPr/>
        <a:lstStyle/>
        <a:p>
          <a:r>
            <a:rPr lang="en-US" dirty="0"/>
            <a:t>Information Security</a:t>
          </a:r>
        </a:p>
      </dgm:t>
    </dgm:pt>
    <dgm:pt modelId="{2A665D04-B858-4A29-96B2-A5AE0ACB931B}" type="parTrans" cxnId="{4D15E784-3445-4919-94E1-7077C1850AAC}">
      <dgm:prSet/>
      <dgm:spPr/>
      <dgm:t>
        <a:bodyPr/>
        <a:lstStyle/>
        <a:p>
          <a:endParaRPr lang="en-US"/>
        </a:p>
      </dgm:t>
    </dgm:pt>
    <dgm:pt modelId="{4226A618-B56B-4CFB-B1DE-258444DF78DC}" type="sibTrans" cxnId="{4D15E784-3445-4919-94E1-7077C1850AAC}">
      <dgm:prSet/>
      <dgm:spPr/>
      <dgm:t>
        <a:bodyPr/>
        <a:lstStyle/>
        <a:p>
          <a:endParaRPr lang="en-US"/>
        </a:p>
      </dgm:t>
    </dgm:pt>
    <dgm:pt modelId="{D9B0F43F-DC88-4568-A06D-B5E7D1F9FCD8}">
      <dgm:prSet phldrT="[Text]"/>
      <dgm:spPr>
        <a:solidFill>
          <a:srgbClr val="FF7D1E"/>
        </a:solidFill>
      </dgm:spPr>
      <dgm:t>
        <a:bodyPr/>
        <a:lstStyle/>
        <a:p>
          <a:r>
            <a:rPr lang="en-US" dirty="0"/>
            <a:t>E-Discovery</a:t>
          </a:r>
        </a:p>
      </dgm:t>
    </dgm:pt>
    <dgm:pt modelId="{CD2A877E-CA0C-411A-9E97-D5F4C3215FDA}" type="parTrans" cxnId="{36FDB64A-897C-46F6-BF7C-5843B2984F0E}">
      <dgm:prSet/>
      <dgm:spPr/>
      <dgm:t>
        <a:bodyPr/>
        <a:lstStyle/>
        <a:p>
          <a:endParaRPr lang="en-US"/>
        </a:p>
      </dgm:t>
    </dgm:pt>
    <dgm:pt modelId="{0E3725E4-B4ED-4842-B8D2-12B620B0582F}" type="sibTrans" cxnId="{36FDB64A-897C-46F6-BF7C-5843B2984F0E}">
      <dgm:prSet/>
      <dgm:spPr/>
      <dgm:t>
        <a:bodyPr/>
        <a:lstStyle/>
        <a:p>
          <a:endParaRPr lang="en-US"/>
        </a:p>
      </dgm:t>
    </dgm:pt>
    <dgm:pt modelId="{847FE841-44D7-4C8B-B7F8-606D252F20AC}">
      <dgm:prSet phldrT="[Text]"/>
      <dgm:spPr>
        <a:solidFill>
          <a:srgbClr val="C8BEAF"/>
        </a:solidFill>
      </dgm:spPr>
      <dgm:t>
        <a:bodyPr/>
        <a:lstStyle/>
        <a:p>
          <a:r>
            <a:rPr lang="en-US" dirty="0"/>
            <a:t>Data Privacy</a:t>
          </a:r>
        </a:p>
      </dgm:t>
    </dgm:pt>
    <dgm:pt modelId="{A5D53AE8-1C31-4E65-9A79-8FD085E50DAD}" type="parTrans" cxnId="{9DFB4623-7BAB-4477-9DF8-09DBD7049DB1}">
      <dgm:prSet/>
      <dgm:spPr/>
      <dgm:t>
        <a:bodyPr/>
        <a:lstStyle/>
        <a:p>
          <a:endParaRPr lang="en-US"/>
        </a:p>
      </dgm:t>
    </dgm:pt>
    <dgm:pt modelId="{BB3823D8-0E73-48F2-A007-0C990FBE7AB4}" type="sibTrans" cxnId="{9DFB4623-7BAB-4477-9DF8-09DBD7049DB1}">
      <dgm:prSet/>
      <dgm:spPr/>
      <dgm:t>
        <a:bodyPr/>
        <a:lstStyle/>
        <a:p>
          <a:endParaRPr lang="en-US"/>
        </a:p>
      </dgm:t>
    </dgm:pt>
    <dgm:pt modelId="{D1139D1D-4B68-4F0D-822D-3D64D290C953}">
      <dgm:prSet phldrT="[Text]"/>
      <dgm:spPr>
        <a:solidFill>
          <a:srgbClr val="E62841"/>
        </a:solidFill>
      </dgm:spPr>
      <dgm:t>
        <a:bodyPr/>
        <a:lstStyle/>
        <a:p>
          <a:r>
            <a:rPr lang="en-US" dirty="0"/>
            <a:t>Knowledge Management</a:t>
          </a:r>
        </a:p>
      </dgm:t>
    </dgm:pt>
    <dgm:pt modelId="{216C93F4-F718-4111-ACD3-B17670822E6F}" type="parTrans" cxnId="{FCB5F4B2-1C7E-42C4-84FD-3F5F3A435627}">
      <dgm:prSet/>
      <dgm:spPr/>
      <dgm:t>
        <a:bodyPr/>
        <a:lstStyle/>
        <a:p>
          <a:endParaRPr lang="en-US"/>
        </a:p>
      </dgm:t>
    </dgm:pt>
    <dgm:pt modelId="{41C5422B-F8C5-424B-A120-BCE160E186CB}" type="sibTrans" cxnId="{FCB5F4B2-1C7E-42C4-84FD-3F5F3A435627}">
      <dgm:prSet/>
      <dgm:spPr/>
      <dgm:t>
        <a:bodyPr/>
        <a:lstStyle/>
        <a:p>
          <a:endParaRPr lang="en-US"/>
        </a:p>
      </dgm:t>
    </dgm:pt>
    <dgm:pt modelId="{89E700FB-C6BF-458B-85C8-58B33DBB872C}" type="pres">
      <dgm:prSet presAssocID="{306D3B4D-7103-4342-9EB7-E94541E81216}" presName="compositeShape" presStyleCnt="0">
        <dgm:presLayoutVars>
          <dgm:chMax val="7"/>
          <dgm:dir/>
          <dgm:resizeHandles val="exact"/>
        </dgm:presLayoutVars>
      </dgm:prSet>
      <dgm:spPr/>
    </dgm:pt>
    <dgm:pt modelId="{9B7226DD-70EF-4190-AE44-A3B86B0F3CBD}" type="pres">
      <dgm:prSet presAssocID="{306D3B4D-7103-4342-9EB7-E94541E81216}" presName="wedge1" presStyleLbl="node1" presStyleIdx="0" presStyleCnt="5"/>
      <dgm:spPr/>
      <dgm:t>
        <a:bodyPr/>
        <a:lstStyle/>
        <a:p>
          <a:endParaRPr lang="en-US"/>
        </a:p>
      </dgm:t>
    </dgm:pt>
    <dgm:pt modelId="{110D2E99-5E4C-4427-A145-880478D79C39}" type="pres">
      <dgm:prSet presAssocID="{306D3B4D-7103-4342-9EB7-E94541E81216}" presName="wedge1Tx" presStyleLbl="node1" presStyleIdx="0" presStyleCnt="5">
        <dgm:presLayoutVars>
          <dgm:chMax val="0"/>
          <dgm:chPref val="0"/>
          <dgm:bulletEnabled val="1"/>
        </dgm:presLayoutVars>
      </dgm:prSet>
      <dgm:spPr/>
      <dgm:t>
        <a:bodyPr/>
        <a:lstStyle/>
        <a:p>
          <a:endParaRPr lang="en-US"/>
        </a:p>
      </dgm:t>
    </dgm:pt>
    <dgm:pt modelId="{D24C95BC-0EB6-4A43-A22C-73B50D80F337}" type="pres">
      <dgm:prSet presAssocID="{306D3B4D-7103-4342-9EB7-E94541E81216}" presName="wedge2" presStyleLbl="node1" presStyleIdx="1" presStyleCnt="5"/>
      <dgm:spPr/>
      <dgm:t>
        <a:bodyPr/>
        <a:lstStyle/>
        <a:p>
          <a:endParaRPr lang="en-US"/>
        </a:p>
      </dgm:t>
    </dgm:pt>
    <dgm:pt modelId="{41FD582D-4652-428F-9FE9-0639CD46F6F9}" type="pres">
      <dgm:prSet presAssocID="{306D3B4D-7103-4342-9EB7-E94541E81216}" presName="wedge2Tx" presStyleLbl="node1" presStyleIdx="1" presStyleCnt="5">
        <dgm:presLayoutVars>
          <dgm:chMax val="0"/>
          <dgm:chPref val="0"/>
          <dgm:bulletEnabled val="1"/>
        </dgm:presLayoutVars>
      </dgm:prSet>
      <dgm:spPr/>
      <dgm:t>
        <a:bodyPr/>
        <a:lstStyle/>
        <a:p>
          <a:endParaRPr lang="en-US"/>
        </a:p>
      </dgm:t>
    </dgm:pt>
    <dgm:pt modelId="{EEC5623E-408E-4AF9-8B0D-A092ACE98746}" type="pres">
      <dgm:prSet presAssocID="{306D3B4D-7103-4342-9EB7-E94541E81216}" presName="wedge3" presStyleLbl="node1" presStyleIdx="2" presStyleCnt="5"/>
      <dgm:spPr/>
      <dgm:t>
        <a:bodyPr/>
        <a:lstStyle/>
        <a:p>
          <a:endParaRPr lang="en-US"/>
        </a:p>
      </dgm:t>
    </dgm:pt>
    <dgm:pt modelId="{391FD574-6E6C-49DE-9C47-D1AA76E1492F}" type="pres">
      <dgm:prSet presAssocID="{306D3B4D-7103-4342-9EB7-E94541E81216}" presName="wedge3Tx" presStyleLbl="node1" presStyleIdx="2" presStyleCnt="5">
        <dgm:presLayoutVars>
          <dgm:chMax val="0"/>
          <dgm:chPref val="0"/>
          <dgm:bulletEnabled val="1"/>
        </dgm:presLayoutVars>
      </dgm:prSet>
      <dgm:spPr/>
      <dgm:t>
        <a:bodyPr/>
        <a:lstStyle/>
        <a:p>
          <a:endParaRPr lang="en-US"/>
        </a:p>
      </dgm:t>
    </dgm:pt>
    <dgm:pt modelId="{0D2F9801-3C0E-4984-96DB-5626378FB57D}" type="pres">
      <dgm:prSet presAssocID="{306D3B4D-7103-4342-9EB7-E94541E81216}" presName="wedge4" presStyleLbl="node1" presStyleIdx="3" presStyleCnt="5"/>
      <dgm:spPr/>
      <dgm:t>
        <a:bodyPr/>
        <a:lstStyle/>
        <a:p>
          <a:endParaRPr lang="en-US"/>
        </a:p>
      </dgm:t>
    </dgm:pt>
    <dgm:pt modelId="{57630FBC-CB84-43E5-B1B3-888C4F414766}" type="pres">
      <dgm:prSet presAssocID="{306D3B4D-7103-4342-9EB7-E94541E81216}" presName="wedge4Tx" presStyleLbl="node1" presStyleIdx="3" presStyleCnt="5">
        <dgm:presLayoutVars>
          <dgm:chMax val="0"/>
          <dgm:chPref val="0"/>
          <dgm:bulletEnabled val="1"/>
        </dgm:presLayoutVars>
      </dgm:prSet>
      <dgm:spPr/>
      <dgm:t>
        <a:bodyPr/>
        <a:lstStyle/>
        <a:p>
          <a:endParaRPr lang="en-US"/>
        </a:p>
      </dgm:t>
    </dgm:pt>
    <dgm:pt modelId="{0CCEF46A-AC96-4F5B-8DCF-C81A0241BFEC}" type="pres">
      <dgm:prSet presAssocID="{306D3B4D-7103-4342-9EB7-E94541E81216}" presName="wedge5" presStyleLbl="node1" presStyleIdx="4" presStyleCnt="5"/>
      <dgm:spPr/>
      <dgm:t>
        <a:bodyPr/>
        <a:lstStyle/>
        <a:p>
          <a:endParaRPr lang="en-US"/>
        </a:p>
      </dgm:t>
    </dgm:pt>
    <dgm:pt modelId="{13B69D8F-4F7A-4C5F-A1EA-9C82429AB19A}" type="pres">
      <dgm:prSet presAssocID="{306D3B4D-7103-4342-9EB7-E94541E81216}" presName="wedge5Tx" presStyleLbl="node1" presStyleIdx="4" presStyleCnt="5">
        <dgm:presLayoutVars>
          <dgm:chMax val="0"/>
          <dgm:chPref val="0"/>
          <dgm:bulletEnabled val="1"/>
        </dgm:presLayoutVars>
      </dgm:prSet>
      <dgm:spPr/>
      <dgm:t>
        <a:bodyPr/>
        <a:lstStyle/>
        <a:p>
          <a:endParaRPr lang="en-US"/>
        </a:p>
      </dgm:t>
    </dgm:pt>
  </dgm:ptLst>
  <dgm:cxnLst>
    <dgm:cxn modelId="{D7D3645B-7265-4D3D-9CCD-680BCD897CE8}" type="presOf" srcId="{A960E122-F8EC-4B63-B5EA-43A61630DB94}" destId="{41FD582D-4652-428F-9FE9-0639CD46F6F9}" srcOrd="1" destOrd="0" presId="urn:microsoft.com/office/officeart/2005/8/layout/chart3"/>
    <dgm:cxn modelId="{1927F010-D269-4A6A-B9A9-79BF1C8C43AA}" type="presOf" srcId="{00E82F74-12E5-4742-B7DB-A8691D826182}" destId="{110D2E99-5E4C-4427-A145-880478D79C39}" srcOrd="1" destOrd="0" presId="urn:microsoft.com/office/officeart/2005/8/layout/chart3"/>
    <dgm:cxn modelId="{F66BBB22-4BDC-45CB-8A45-28FA4CB92E26}" type="presOf" srcId="{D9B0F43F-DC88-4568-A06D-B5E7D1F9FCD8}" destId="{391FD574-6E6C-49DE-9C47-D1AA76E1492F}" srcOrd="1" destOrd="0" presId="urn:microsoft.com/office/officeart/2005/8/layout/chart3"/>
    <dgm:cxn modelId="{FEDF6211-A9C0-4217-8D0F-8CBF148E97E3}" type="presOf" srcId="{D1139D1D-4B68-4F0D-822D-3D64D290C953}" destId="{0CCEF46A-AC96-4F5B-8DCF-C81A0241BFEC}" srcOrd="0" destOrd="0" presId="urn:microsoft.com/office/officeart/2005/8/layout/chart3"/>
    <dgm:cxn modelId="{F780CCFC-171B-407D-8F96-2EAE77AF5C35}" type="presOf" srcId="{00E82F74-12E5-4742-B7DB-A8691D826182}" destId="{9B7226DD-70EF-4190-AE44-A3B86B0F3CBD}" srcOrd="0" destOrd="0" presId="urn:microsoft.com/office/officeart/2005/8/layout/chart3"/>
    <dgm:cxn modelId="{552D25CB-546B-4F86-A741-D91ACB879247}" type="presOf" srcId="{D9B0F43F-DC88-4568-A06D-B5E7D1F9FCD8}" destId="{EEC5623E-408E-4AF9-8B0D-A092ACE98746}" srcOrd="0" destOrd="0" presId="urn:microsoft.com/office/officeart/2005/8/layout/chart3"/>
    <dgm:cxn modelId="{6A993FAA-317E-4A32-AD10-023353458D33}" type="presOf" srcId="{D1139D1D-4B68-4F0D-822D-3D64D290C953}" destId="{13B69D8F-4F7A-4C5F-A1EA-9C82429AB19A}" srcOrd="1" destOrd="0" presId="urn:microsoft.com/office/officeart/2005/8/layout/chart3"/>
    <dgm:cxn modelId="{3BC44F2D-8E07-497F-A4F8-6DAF5B9508FE}" type="presOf" srcId="{847FE841-44D7-4C8B-B7F8-606D252F20AC}" destId="{57630FBC-CB84-43E5-B1B3-888C4F414766}" srcOrd="1" destOrd="0" presId="urn:microsoft.com/office/officeart/2005/8/layout/chart3"/>
    <dgm:cxn modelId="{7C3F3BC6-227A-431A-9F9F-8776F6786591}" srcId="{306D3B4D-7103-4342-9EB7-E94541E81216}" destId="{00E82F74-12E5-4742-B7DB-A8691D826182}" srcOrd="0" destOrd="0" parTransId="{4E76560A-CB82-40C3-88BA-58DFA3BF0143}" sibTransId="{2BA904DE-8E3A-48D9-A79B-7390FEC8457C}"/>
    <dgm:cxn modelId="{9DFB4623-7BAB-4477-9DF8-09DBD7049DB1}" srcId="{306D3B4D-7103-4342-9EB7-E94541E81216}" destId="{847FE841-44D7-4C8B-B7F8-606D252F20AC}" srcOrd="3" destOrd="0" parTransId="{A5D53AE8-1C31-4E65-9A79-8FD085E50DAD}" sibTransId="{BB3823D8-0E73-48F2-A007-0C990FBE7AB4}"/>
    <dgm:cxn modelId="{845B60B8-FAC3-4FDF-BEEA-7CD09AD9597F}" type="presOf" srcId="{847FE841-44D7-4C8B-B7F8-606D252F20AC}" destId="{0D2F9801-3C0E-4984-96DB-5626378FB57D}" srcOrd="0" destOrd="0" presId="urn:microsoft.com/office/officeart/2005/8/layout/chart3"/>
    <dgm:cxn modelId="{36FDB64A-897C-46F6-BF7C-5843B2984F0E}" srcId="{306D3B4D-7103-4342-9EB7-E94541E81216}" destId="{D9B0F43F-DC88-4568-A06D-B5E7D1F9FCD8}" srcOrd="2" destOrd="0" parTransId="{CD2A877E-CA0C-411A-9E97-D5F4C3215FDA}" sibTransId="{0E3725E4-B4ED-4842-B8D2-12B620B0582F}"/>
    <dgm:cxn modelId="{FCB5F4B2-1C7E-42C4-84FD-3F5F3A435627}" srcId="{306D3B4D-7103-4342-9EB7-E94541E81216}" destId="{D1139D1D-4B68-4F0D-822D-3D64D290C953}" srcOrd="4" destOrd="0" parTransId="{216C93F4-F718-4111-ACD3-B17670822E6F}" sibTransId="{41C5422B-F8C5-424B-A120-BCE160E186CB}"/>
    <dgm:cxn modelId="{AFC98BB1-E2B7-43FA-96B2-C39DB1001C8C}" type="presOf" srcId="{A960E122-F8EC-4B63-B5EA-43A61630DB94}" destId="{D24C95BC-0EB6-4A43-A22C-73B50D80F337}" srcOrd="0" destOrd="0" presId="urn:microsoft.com/office/officeart/2005/8/layout/chart3"/>
    <dgm:cxn modelId="{1FEF5031-CC5B-4192-B5E9-9BE5BB6D8797}" type="presOf" srcId="{306D3B4D-7103-4342-9EB7-E94541E81216}" destId="{89E700FB-C6BF-458B-85C8-58B33DBB872C}" srcOrd="0" destOrd="0" presId="urn:microsoft.com/office/officeart/2005/8/layout/chart3"/>
    <dgm:cxn modelId="{4D15E784-3445-4919-94E1-7077C1850AAC}" srcId="{306D3B4D-7103-4342-9EB7-E94541E81216}" destId="{A960E122-F8EC-4B63-B5EA-43A61630DB94}" srcOrd="1" destOrd="0" parTransId="{2A665D04-B858-4A29-96B2-A5AE0ACB931B}" sibTransId="{4226A618-B56B-4CFB-B1DE-258444DF78DC}"/>
    <dgm:cxn modelId="{F9720FCB-BED5-43B3-BA7C-283583160D57}" type="presParOf" srcId="{89E700FB-C6BF-458B-85C8-58B33DBB872C}" destId="{9B7226DD-70EF-4190-AE44-A3B86B0F3CBD}" srcOrd="0" destOrd="0" presId="urn:microsoft.com/office/officeart/2005/8/layout/chart3"/>
    <dgm:cxn modelId="{3CEB5147-97F3-43EB-B246-6DDC38EDBF4C}" type="presParOf" srcId="{89E700FB-C6BF-458B-85C8-58B33DBB872C}" destId="{110D2E99-5E4C-4427-A145-880478D79C39}" srcOrd="1" destOrd="0" presId="urn:microsoft.com/office/officeart/2005/8/layout/chart3"/>
    <dgm:cxn modelId="{F2955A8E-3278-4B6A-AE7E-F9076FE38546}" type="presParOf" srcId="{89E700FB-C6BF-458B-85C8-58B33DBB872C}" destId="{D24C95BC-0EB6-4A43-A22C-73B50D80F337}" srcOrd="2" destOrd="0" presId="urn:microsoft.com/office/officeart/2005/8/layout/chart3"/>
    <dgm:cxn modelId="{9BD2B832-3602-4F4D-A1D1-BEF0E93AD69A}" type="presParOf" srcId="{89E700FB-C6BF-458B-85C8-58B33DBB872C}" destId="{41FD582D-4652-428F-9FE9-0639CD46F6F9}" srcOrd="3" destOrd="0" presId="urn:microsoft.com/office/officeart/2005/8/layout/chart3"/>
    <dgm:cxn modelId="{D5DC6CED-C056-4855-BBB7-770CAF94F804}" type="presParOf" srcId="{89E700FB-C6BF-458B-85C8-58B33DBB872C}" destId="{EEC5623E-408E-4AF9-8B0D-A092ACE98746}" srcOrd="4" destOrd="0" presId="urn:microsoft.com/office/officeart/2005/8/layout/chart3"/>
    <dgm:cxn modelId="{F15908B3-1FAE-42EB-846E-827B50AF5877}" type="presParOf" srcId="{89E700FB-C6BF-458B-85C8-58B33DBB872C}" destId="{391FD574-6E6C-49DE-9C47-D1AA76E1492F}" srcOrd="5" destOrd="0" presId="urn:microsoft.com/office/officeart/2005/8/layout/chart3"/>
    <dgm:cxn modelId="{EA0507FA-7B64-49C3-BCBF-BBE96CA094E1}" type="presParOf" srcId="{89E700FB-C6BF-458B-85C8-58B33DBB872C}" destId="{0D2F9801-3C0E-4984-96DB-5626378FB57D}" srcOrd="6" destOrd="0" presId="urn:microsoft.com/office/officeart/2005/8/layout/chart3"/>
    <dgm:cxn modelId="{FA99AA29-A749-4EA5-9BFC-EC5408202CE1}" type="presParOf" srcId="{89E700FB-C6BF-458B-85C8-58B33DBB872C}" destId="{57630FBC-CB84-43E5-B1B3-888C4F414766}" srcOrd="7" destOrd="0" presId="urn:microsoft.com/office/officeart/2005/8/layout/chart3"/>
    <dgm:cxn modelId="{9B7C9AE5-210E-4DE8-B150-578D2965A2CA}" type="presParOf" srcId="{89E700FB-C6BF-458B-85C8-58B33DBB872C}" destId="{0CCEF46A-AC96-4F5B-8DCF-C81A0241BFEC}" srcOrd="8" destOrd="0" presId="urn:microsoft.com/office/officeart/2005/8/layout/chart3"/>
    <dgm:cxn modelId="{CF8AC544-84BF-4E1C-9F74-95F9A44FEDDA}" type="presParOf" srcId="{89E700FB-C6BF-458B-85C8-58B33DBB872C}" destId="{13B69D8F-4F7A-4C5F-A1EA-9C82429AB19A}" srcOrd="9"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B428F9A-0889-4931-A503-0BF6AF03FA9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2A98472-2B5C-4E9D-AF7D-AAE70034B797}">
      <dgm:prSet phldrT="[Text]"/>
      <dgm:spPr>
        <a:solidFill>
          <a:srgbClr val="4F2D7F"/>
        </a:solidFill>
      </dgm:spPr>
      <dgm:t>
        <a:bodyPr/>
        <a:lstStyle/>
        <a:p>
          <a:r>
            <a:rPr lang="en-US" dirty="0">
              <a:solidFill>
                <a:schemeClr val="bg1"/>
              </a:solidFill>
            </a:rPr>
            <a:t>Public</a:t>
          </a:r>
        </a:p>
      </dgm:t>
    </dgm:pt>
    <dgm:pt modelId="{850F5406-368F-4CA4-ABF0-093265390C9D}" type="parTrans" cxnId="{F91AEFE3-A4A5-4AD3-BE90-C5569C12606F}">
      <dgm:prSet/>
      <dgm:spPr/>
      <dgm:t>
        <a:bodyPr/>
        <a:lstStyle/>
        <a:p>
          <a:endParaRPr lang="en-US"/>
        </a:p>
      </dgm:t>
    </dgm:pt>
    <dgm:pt modelId="{AE66A5F1-495B-4828-BD31-C75EAA5DD855}" type="sibTrans" cxnId="{F91AEFE3-A4A5-4AD3-BE90-C5569C12606F}">
      <dgm:prSet/>
      <dgm:spPr/>
      <dgm:t>
        <a:bodyPr/>
        <a:lstStyle/>
        <a:p>
          <a:endParaRPr lang="en-US"/>
        </a:p>
      </dgm:t>
    </dgm:pt>
    <dgm:pt modelId="{F657B3F0-DA9B-4852-86EC-ABDDDBA58751}">
      <dgm:prSet phldrT="[Text]"/>
      <dgm:spPr>
        <a:solidFill>
          <a:srgbClr val="00A7B5"/>
        </a:solidFill>
        <a:ln>
          <a:solidFill>
            <a:srgbClr val="00A7B5"/>
          </a:solidFill>
        </a:ln>
      </dgm:spPr>
      <dgm:t>
        <a:bodyPr/>
        <a:lstStyle/>
        <a:p>
          <a:r>
            <a:rPr lang="en-US" dirty="0">
              <a:solidFill>
                <a:schemeClr val="bg1"/>
              </a:solidFill>
            </a:rPr>
            <a:t>Confidential</a:t>
          </a:r>
          <a:r>
            <a:rPr lang="en-US" dirty="0">
              <a:solidFill>
                <a:schemeClr val="tx1"/>
              </a:solidFill>
            </a:rPr>
            <a:t> </a:t>
          </a:r>
          <a:r>
            <a:rPr lang="en-US" dirty="0">
              <a:solidFill>
                <a:schemeClr val="bg1"/>
              </a:solidFill>
            </a:rPr>
            <a:t>– For Internal Use Only</a:t>
          </a:r>
        </a:p>
      </dgm:t>
    </dgm:pt>
    <dgm:pt modelId="{371B35D3-D8EC-466B-8D9F-254461FE0E98}" type="parTrans" cxnId="{14A782B7-E558-4627-9D3C-530F753E4FE3}">
      <dgm:prSet/>
      <dgm:spPr/>
      <dgm:t>
        <a:bodyPr/>
        <a:lstStyle/>
        <a:p>
          <a:endParaRPr lang="en-US"/>
        </a:p>
      </dgm:t>
    </dgm:pt>
    <dgm:pt modelId="{34588E83-D89D-4BE8-8403-1D0161861DFE}" type="sibTrans" cxnId="{14A782B7-E558-4627-9D3C-530F753E4FE3}">
      <dgm:prSet/>
      <dgm:spPr/>
      <dgm:t>
        <a:bodyPr/>
        <a:lstStyle/>
        <a:p>
          <a:endParaRPr lang="en-US"/>
        </a:p>
      </dgm:t>
    </dgm:pt>
    <dgm:pt modelId="{940D3C1D-E175-437A-8F25-DFBD8FCC4CF6}">
      <dgm:prSet phldrT="[Text]"/>
      <dgm:spPr>
        <a:solidFill>
          <a:srgbClr val="D0CDD8">
            <a:alpha val="89804"/>
          </a:srgbClr>
        </a:solidFill>
      </dgm:spPr>
      <dgm:t>
        <a:bodyPr/>
        <a:lstStyle/>
        <a:p>
          <a:r>
            <a:rPr lang="en-US" dirty="0"/>
            <a:t>Internal email announcements</a:t>
          </a:r>
        </a:p>
      </dgm:t>
    </dgm:pt>
    <dgm:pt modelId="{E2B72773-FE2C-4F06-9EC5-2212422ABEA5}" type="parTrans" cxnId="{EEA46065-EFB5-4C20-A065-97EE03713A89}">
      <dgm:prSet/>
      <dgm:spPr/>
      <dgm:t>
        <a:bodyPr/>
        <a:lstStyle/>
        <a:p>
          <a:endParaRPr lang="en-US"/>
        </a:p>
      </dgm:t>
    </dgm:pt>
    <dgm:pt modelId="{7B280C79-F716-405D-8026-128199295043}" type="sibTrans" cxnId="{EEA46065-EFB5-4C20-A065-97EE03713A89}">
      <dgm:prSet/>
      <dgm:spPr/>
      <dgm:t>
        <a:bodyPr/>
        <a:lstStyle/>
        <a:p>
          <a:endParaRPr lang="en-US"/>
        </a:p>
      </dgm:t>
    </dgm:pt>
    <dgm:pt modelId="{8CDC53DE-B1B0-4741-B6EA-34A8EE729D60}">
      <dgm:prSet phldrT="[Text]"/>
      <dgm:spPr>
        <a:solidFill>
          <a:srgbClr val="FF7D1E"/>
        </a:solidFill>
        <a:ln>
          <a:solidFill>
            <a:srgbClr val="FF7D1E"/>
          </a:solidFill>
        </a:ln>
      </dgm:spPr>
      <dgm:t>
        <a:bodyPr/>
        <a:lstStyle/>
        <a:p>
          <a:r>
            <a:rPr lang="en-US" dirty="0">
              <a:solidFill>
                <a:schemeClr val="bg1"/>
              </a:solidFill>
            </a:rPr>
            <a:t>Confidential – Limited Internal Distribution</a:t>
          </a:r>
        </a:p>
      </dgm:t>
    </dgm:pt>
    <dgm:pt modelId="{02670DFD-9BBD-48C3-8EFC-5CB84F971535}" type="parTrans" cxnId="{43417484-19D8-4CE2-88B6-D6792372DB0F}">
      <dgm:prSet/>
      <dgm:spPr/>
      <dgm:t>
        <a:bodyPr/>
        <a:lstStyle/>
        <a:p>
          <a:endParaRPr lang="en-US"/>
        </a:p>
      </dgm:t>
    </dgm:pt>
    <dgm:pt modelId="{B48B8A30-B19D-451F-AD1F-7687C629D683}" type="sibTrans" cxnId="{43417484-19D8-4CE2-88B6-D6792372DB0F}">
      <dgm:prSet/>
      <dgm:spPr/>
      <dgm:t>
        <a:bodyPr/>
        <a:lstStyle/>
        <a:p>
          <a:endParaRPr lang="en-US"/>
        </a:p>
      </dgm:t>
    </dgm:pt>
    <dgm:pt modelId="{EBB74C55-58E3-4392-A117-C647A9A57AD1}">
      <dgm:prSet phldrT="[Text]"/>
      <dgm:spPr/>
      <dgm:t>
        <a:bodyPr/>
        <a:lstStyle/>
        <a:p>
          <a:r>
            <a:rPr lang="en-US" dirty="0"/>
            <a:t>Sensitive personal information</a:t>
          </a:r>
        </a:p>
      </dgm:t>
    </dgm:pt>
    <dgm:pt modelId="{AFCFED7C-34AD-4FD1-AD03-FA07538BF83F}" type="parTrans" cxnId="{29160A8F-692E-4B92-8FB7-B9441809C325}">
      <dgm:prSet/>
      <dgm:spPr/>
      <dgm:t>
        <a:bodyPr/>
        <a:lstStyle/>
        <a:p>
          <a:endParaRPr lang="en-US"/>
        </a:p>
      </dgm:t>
    </dgm:pt>
    <dgm:pt modelId="{F9075FA0-38BE-4FC4-AA4B-EA4E489B9E00}" type="sibTrans" cxnId="{29160A8F-692E-4B92-8FB7-B9441809C325}">
      <dgm:prSet/>
      <dgm:spPr/>
      <dgm:t>
        <a:bodyPr/>
        <a:lstStyle/>
        <a:p>
          <a:endParaRPr lang="en-US"/>
        </a:p>
      </dgm:t>
    </dgm:pt>
    <dgm:pt modelId="{907FD242-8A73-49A2-A62D-49023F47D57E}">
      <dgm:prSet phldrT="[Text]"/>
      <dgm:spPr>
        <a:solidFill>
          <a:srgbClr val="E62841"/>
        </a:solidFill>
        <a:ln>
          <a:solidFill>
            <a:srgbClr val="E62841"/>
          </a:solidFill>
        </a:ln>
      </dgm:spPr>
      <dgm:t>
        <a:bodyPr/>
        <a:lstStyle/>
        <a:p>
          <a:r>
            <a:rPr lang="en-US" dirty="0">
              <a:solidFill>
                <a:schemeClr val="bg1"/>
              </a:solidFill>
            </a:rPr>
            <a:t>Highly Confidential</a:t>
          </a:r>
        </a:p>
      </dgm:t>
    </dgm:pt>
    <dgm:pt modelId="{FEF5D4B4-91BF-4F7C-A2D9-BC6B36414568}" type="parTrans" cxnId="{5B93D4C7-248C-42C2-8EA2-935DF813AF57}">
      <dgm:prSet/>
      <dgm:spPr/>
      <dgm:t>
        <a:bodyPr/>
        <a:lstStyle/>
        <a:p>
          <a:endParaRPr lang="en-US"/>
        </a:p>
      </dgm:t>
    </dgm:pt>
    <dgm:pt modelId="{E769019C-726C-4A24-98EB-67876A80119F}" type="sibTrans" cxnId="{5B93D4C7-248C-42C2-8EA2-935DF813AF57}">
      <dgm:prSet/>
      <dgm:spPr/>
      <dgm:t>
        <a:bodyPr/>
        <a:lstStyle/>
        <a:p>
          <a:endParaRPr lang="en-US"/>
        </a:p>
      </dgm:t>
    </dgm:pt>
    <dgm:pt modelId="{61469B56-D45B-49B8-B375-4D01980D2E0E}">
      <dgm:prSet/>
      <dgm:spPr>
        <a:solidFill>
          <a:srgbClr val="D0CDD8"/>
        </a:solidFill>
      </dgm:spPr>
      <dgm:t>
        <a:bodyPr/>
        <a:lstStyle/>
        <a:p>
          <a:r>
            <a:rPr lang="en-US" dirty="0"/>
            <a:t>Public presentations</a:t>
          </a:r>
        </a:p>
      </dgm:t>
    </dgm:pt>
    <dgm:pt modelId="{A110579E-C36C-47B9-8EC1-1857DA5131D7}" type="parTrans" cxnId="{2B2C4203-F654-44B7-9C50-E62644E511F0}">
      <dgm:prSet/>
      <dgm:spPr/>
      <dgm:t>
        <a:bodyPr/>
        <a:lstStyle/>
        <a:p>
          <a:endParaRPr lang="en-US"/>
        </a:p>
      </dgm:t>
    </dgm:pt>
    <dgm:pt modelId="{1A8091EF-D7D1-440C-8B68-02997E9F297F}" type="sibTrans" cxnId="{2B2C4203-F654-44B7-9C50-E62644E511F0}">
      <dgm:prSet/>
      <dgm:spPr/>
      <dgm:t>
        <a:bodyPr/>
        <a:lstStyle/>
        <a:p>
          <a:endParaRPr lang="en-US"/>
        </a:p>
      </dgm:t>
    </dgm:pt>
    <dgm:pt modelId="{15C4B7F2-EF1B-41BA-B20A-F22C6FFACAB3}">
      <dgm:prSet/>
      <dgm:spPr>
        <a:solidFill>
          <a:srgbClr val="D0CDD8"/>
        </a:solidFill>
      </dgm:spPr>
      <dgm:t>
        <a:bodyPr/>
        <a:lstStyle/>
        <a:p>
          <a:r>
            <a:rPr lang="en-US"/>
            <a:t>Publicly issued white papers and articles</a:t>
          </a:r>
        </a:p>
      </dgm:t>
    </dgm:pt>
    <dgm:pt modelId="{99D71231-756B-4C6C-9F1B-557590F3BDAF}" type="parTrans" cxnId="{D6CD77A2-F3F8-480E-95A3-E88690576D79}">
      <dgm:prSet/>
      <dgm:spPr/>
      <dgm:t>
        <a:bodyPr/>
        <a:lstStyle/>
        <a:p>
          <a:endParaRPr lang="en-US"/>
        </a:p>
      </dgm:t>
    </dgm:pt>
    <dgm:pt modelId="{5A037349-2DE5-433C-949D-D17410391401}" type="sibTrans" cxnId="{D6CD77A2-F3F8-480E-95A3-E88690576D79}">
      <dgm:prSet/>
      <dgm:spPr/>
      <dgm:t>
        <a:bodyPr/>
        <a:lstStyle/>
        <a:p>
          <a:endParaRPr lang="en-US"/>
        </a:p>
      </dgm:t>
    </dgm:pt>
    <dgm:pt modelId="{40BD4BE9-4C0F-4E79-AF5D-2F6A46A3983F}">
      <dgm:prSet/>
      <dgm:spPr>
        <a:solidFill>
          <a:srgbClr val="D0CDD8"/>
        </a:solidFill>
      </dgm:spPr>
      <dgm:t>
        <a:bodyPr/>
        <a:lstStyle/>
        <a:p>
          <a:r>
            <a:rPr lang="en-US" dirty="0"/>
            <a:t>Press releases</a:t>
          </a:r>
        </a:p>
      </dgm:t>
    </dgm:pt>
    <dgm:pt modelId="{5EF50886-7771-49CD-B1D1-91FBEB2772FF}" type="parTrans" cxnId="{5FF85E75-6EC5-4AB5-9437-536BD2B3994A}">
      <dgm:prSet/>
      <dgm:spPr/>
      <dgm:t>
        <a:bodyPr/>
        <a:lstStyle/>
        <a:p>
          <a:endParaRPr lang="en-US"/>
        </a:p>
      </dgm:t>
    </dgm:pt>
    <dgm:pt modelId="{B1FCC9A0-DD1E-4249-A67F-D48C11DC0782}" type="sibTrans" cxnId="{5FF85E75-6EC5-4AB5-9437-536BD2B3994A}">
      <dgm:prSet/>
      <dgm:spPr/>
      <dgm:t>
        <a:bodyPr/>
        <a:lstStyle/>
        <a:p>
          <a:endParaRPr lang="en-US"/>
        </a:p>
      </dgm:t>
    </dgm:pt>
    <dgm:pt modelId="{8D986C14-AB23-4139-A7D2-90C1EDCE0706}">
      <dgm:prSet/>
      <dgm:spPr>
        <a:solidFill>
          <a:srgbClr val="D0CDD8"/>
        </a:solidFill>
      </dgm:spPr>
      <dgm:t>
        <a:bodyPr/>
        <a:lstStyle/>
        <a:p>
          <a:r>
            <a:rPr lang="en-US" dirty="0"/>
            <a:t>Advertisements</a:t>
          </a:r>
        </a:p>
      </dgm:t>
    </dgm:pt>
    <dgm:pt modelId="{D0D0D503-B9D8-47C2-9D79-7271A8D1B32F}" type="parTrans" cxnId="{AB3750B7-35DB-4084-96A2-D5D1247DBD77}">
      <dgm:prSet/>
      <dgm:spPr/>
      <dgm:t>
        <a:bodyPr/>
        <a:lstStyle/>
        <a:p>
          <a:endParaRPr lang="en-US"/>
        </a:p>
      </dgm:t>
    </dgm:pt>
    <dgm:pt modelId="{E99E6DFE-7823-4551-941D-A0B1733E4679}" type="sibTrans" cxnId="{AB3750B7-35DB-4084-96A2-D5D1247DBD77}">
      <dgm:prSet/>
      <dgm:spPr/>
      <dgm:t>
        <a:bodyPr/>
        <a:lstStyle/>
        <a:p>
          <a:endParaRPr lang="en-US"/>
        </a:p>
      </dgm:t>
    </dgm:pt>
    <dgm:pt modelId="{375B189D-F40B-4C72-AA51-676F21C368AF}">
      <dgm:prSet/>
      <dgm:spPr>
        <a:solidFill>
          <a:srgbClr val="D0CDD8">
            <a:alpha val="89804"/>
          </a:srgbClr>
        </a:solidFill>
      </dgm:spPr>
      <dgm:t>
        <a:bodyPr/>
        <a:lstStyle/>
        <a:p>
          <a:r>
            <a:rPr lang="en-US" dirty="0"/>
            <a:t>Position descriptions</a:t>
          </a:r>
        </a:p>
      </dgm:t>
    </dgm:pt>
    <dgm:pt modelId="{004E143C-8CC4-4F15-BFEA-DA3B9ABD6560}" type="parTrans" cxnId="{B9F000DE-1D5D-470B-94CD-58801D1FDEA9}">
      <dgm:prSet/>
      <dgm:spPr/>
      <dgm:t>
        <a:bodyPr/>
        <a:lstStyle/>
        <a:p>
          <a:endParaRPr lang="en-US"/>
        </a:p>
      </dgm:t>
    </dgm:pt>
    <dgm:pt modelId="{44B3BB1A-C743-4DF8-98B0-DC9F8EE6DCE8}" type="sibTrans" cxnId="{B9F000DE-1D5D-470B-94CD-58801D1FDEA9}">
      <dgm:prSet/>
      <dgm:spPr/>
      <dgm:t>
        <a:bodyPr/>
        <a:lstStyle/>
        <a:p>
          <a:endParaRPr lang="en-US"/>
        </a:p>
      </dgm:t>
    </dgm:pt>
    <dgm:pt modelId="{073E9F58-6B94-468A-971F-7F0C406340EC}">
      <dgm:prSet/>
      <dgm:spPr>
        <a:solidFill>
          <a:srgbClr val="D0CDD8">
            <a:alpha val="89804"/>
          </a:srgbClr>
        </a:solidFill>
      </dgm:spPr>
      <dgm:t>
        <a:bodyPr/>
        <a:lstStyle/>
        <a:p>
          <a:r>
            <a:rPr lang="en-US" dirty="0"/>
            <a:t>Training presentations and videos</a:t>
          </a:r>
        </a:p>
      </dgm:t>
    </dgm:pt>
    <dgm:pt modelId="{D1CF5977-E819-45B7-9643-DE4EF40F7F7B}" type="parTrans" cxnId="{17C19134-FEA5-43E2-A180-53CF2BC45552}">
      <dgm:prSet/>
      <dgm:spPr/>
      <dgm:t>
        <a:bodyPr/>
        <a:lstStyle/>
        <a:p>
          <a:endParaRPr lang="en-US"/>
        </a:p>
      </dgm:t>
    </dgm:pt>
    <dgm:pt modelId="{9B8222A3-89DD-4EB1-BF50-2DFE7F057162}" type="sibTrans" cxnId="{17C19134-FEA5-43E2-A180-53CF2BC45552}">
      <dgm:prSet/>
      <dgm:spPr/>
      <dgm:t>
        <a:bodyPr/>
        <a:lstStyle/>
        <a:p>
          <a:endParaRPr lang="en-US"/>
        </a:p>
      </dgm:t>
    </dgm:pt>
    <dgm:pt modelId="{7EDE822F-780B-4B18-ACD3-B0EF513AC2A5}">
      <dgm:prSet/>
      <dgm:spPr>
        <a:solidFill>
          <a:srgbClr val="D0CDD8">
            <a:alpha val="89804"/>
          </a:srgbClr>
        </a:solidFill>
      </dgm:spPr>
      <dgm:t>
        <a:bodyPr/>
        <a:lstStyle/>
        <a:p>
          <a:r>
            <a:rPr lang="en-US" dirty="0"/>
            <a:t>CEO blog postings</a:t>
          </a:r>
        </a:p>
      </dgm:t>
    </dgm:pt>
    <dgm:pt modelId="{F3F08DD8-EE1F-4E52-906F-6220689F89B7}" type="parTrans" cxnId="{C33A28B6-164D-46DE-A84C-2E26EA63F87A}">
      <dgm:prSet/>
      <dgm:spPr/>
      <dgm:t>
        <a:bodyPr/>
        <a:lstStyle/>
        <a:p>
          <a:endParaRPr lang="en-US"/>
        </a:p>
      </dgm:t>
    </dgm:pt>
    <dgm:pt modelId="{576C7D45-BB36-4507-AB25-C01038ED737B}" type="sibTrans" cxnId="{C33A28B6-164D-46DE-A84C-2E26EA63F87A}">
      <dgm:prSet/>
      <dgm:spPr/>
      <dgm:t>
        <a:bodyPr/>
        <a:lstStyle/>
        <a:p>
          <a:endParaRPr lang="en-US"/>
        </a:p>
      </dgm:t>
    </dgm:pt>
    <dgm:pt modelId="{53F2E8DD-1081-400D-8202-10487021B8D2}">
      <dgm:prSet/>
      <dgm:spPr/>
      <dgm:t>
        <a:bodyPr/>
        <a:lstStyle/>
        <a:p>
          <a:r>
            <a:rPr lang="en-US"/>
            <a:t>Client information (nonpublic)</a:t>
          </a:r>
        </a:p>
      </dgm:t>
    </dgm:pt>
    <dgm:pt modelId="{CB4E17CF-4706-43DD-B3E9-FF7D83A80DEA}" type="parTrans" cxnId="{D5CACD02-3FE2-4EB4-B2FE-581F0BAA6B2B}">
      <dgm:prSet/>
      <dgm:spPr/>
      <dgm:t>
        <a:bodyPr/>
        <a:lstStyle/>
        <a:p>
          <a:endParaRPr lang="en-US"/>
        </a:p>
      </dgm:t>
    </dgm:pt>
    <dgm:pt modelId="{75A69BBF-4857-4EF6-B08B-636CFCB523B3}" type="sibTrans" cxnId="{D5CACD02-3FE2-4EB4-B2FE-581F0BAA6B2B}">
      <dgm:prSet/>
      <dgm:spPr/>
      <dgm:t>
        <a:bodyPr/>
        <a:lstStyle/>
        <a:p>
          <a:endParaRPr lang="en-US"/>
        </a:p>
      </dgm:t>
    </dgm:pt>
    <dgm:pt modelId="{D1D68FA5-439C-4C28-9ABC-9B4CAB729C86}">
      <dgm:prSet/>
      <dgm:spPr/>
      <dgm:t>
        <a:bodyPr/>
        <a:lstStyle/>
        <a:p>
          <a:r>
            <a:rPr lang="en-US" dirty="0"/>
            <a:t>Vendor agreements</a:t>
          </a:r>
        </a:p>
      </dgm:t>
    </dgm:pt>
    <dgm:pt modelId="{79C1CCCA-4E49-4114-8A74-B8A261D7FB6E}" type="parTrans" cxnId="{0984A868-1BFE-4940-8415-32C375B78829}">
      <dgm:prSet/>
      <dgm:spPr/>
      <dgm:t>
        <a:bodyPr/>
        <a:lstStyle/>
        <a:p>
          <a:endParaRPr lang="en-US"/>
        </a:p>
      </dgm:t>
    </dgm:pt>
    <dgm:pt modelId="{EFDA049F-716B-46E5-A233-B99CDFBBBA36}" type="sibTrans" cxnId="{0984A868-1BFE-4940-8415-32C375B78829}">
      <dgm:prSet/>
      <dgm:spPr/>
      <dgm:t>
        <a:bodyPr/>
        <a:lstStyle/>
        <a:p>
          <a:endParaRPr lang="en-US"/>
        </a:p>
      </dgm:t>
    </dgm:pt>
    <dgm:pt modelId="{9B59AF10-6F02-4948-AE22-F12C662F18CE}">
      <dgm:prSet/>
      <dgm:spPr/>
      <dgm:t>
        <a:bodyPr/>
        <a:lstStyle/>
        <a:p>
          <a:r>
            <a:rPr lang="en-US" dirty="0"/>
            <a:t>Pricing or marketing strategies</a:t>
          </a:r>
        </a:p>
      </dgm:t>
    </dgm:pt>
    <dgm:pt modelId="{6315698C-6759-45F6-944A-E05116670188}" type="parTrans" cxnId="{91339C79-3F91-45D2-8A9F-1BCA5B215AB4}">
      <dgm:prSet/>
      <dgm:spPr/>
      <dgm:t>
        <a:bodyPr/>
        <a:lstStyle/>
        <a:p>
          <a:endParaRPr lang="en-US"/>
        </a:p>
      </dgm:t>
    </dgm:pt>
    <dgm:pt modelId="{21506361-0AB4-4F05-823E-E022ACCDF034}" type="sibTrans" cxnId="{91339C79-3F91-45D2-8A9F-1BCA5B215AB4}">
      <dgm:prSet/>
      <dgm:spPr/>
      <dgm:t>
        <a:bodyPr/>
        <a:lstStyle/>
        <a:p>
          <a:endParaRPr lang="en-US"/>
        </a:p>
      </dgm:t>
    </dgm:pt>
    <dgm:pt modelId="{0E7F1190-0C6D-4B60-B8C9-06F40622B0AA}">
      <dgm:prSet/>
      <dgm:spPr/>
      <dgm:t>
        <a:bodyPr/>
        <a:lstStyle/>
        <a:p>
          <a:r>
            <a:rPr lang="en-US" dirty="0"/>
            <a:t>Partnership agreements</a:t>
          </a:r>
        </a:p>
      </dgm:t>
    </dgm:pt>
    <dgm:pt modelId="{DCBD568D-F929-4B16-ADD0-D66747A6173B}" type="parTrans" cxnId="{E9F96D65-6705-4349-B56F-76DD925EC0DA}">
      <dgm:prSet/>
      <dgm:spPr/>
      <dgm:t>
        <a:bodyPr/>
        <a:lstStyle/>
        <a:p>
          <a:endParaRPr lang="en-US"/>
        </a:p>
      </dgm:t>
    </dgm:pt>
    <dgm:pt modelId="{1DD486F5-9C48-4461-9147-FA42E8F7F509}" type="sibTrans" cxnId="{E9F96D65-6705-4349-B56F-76DD925EC0DA}">
      <dgm:prSet/>
      <dgm:spPr/>
      <dgm:t>
        <a:bodyPr/>
        <a:lstStyle/>
        <a:p>
          <a:endParaRPr lang="en-US"/>
        </a:p>
      </dgm:t>
    </dgm:pt>
    <dgm:pt modelId="{75C55B84-DA11-4333-BA42-2B27426716EC}">
      <dgm:prSet/>
      <dgm:spPr/>
      <dgm:t>
        <a:bodyPr/>
        <a:lstStyle/>
        <a:p>
          <a:r>
            <a:rPr lang="en-US" dirty="0"/>
            <a:t>Merger, acquisition, divestiture or business combination plans</a:t>
          </a:r>
        </a:p>
      </dgm:t>
    </dgm:pt>
    <dgm:pt modelId="{7C284402-1880-437B-8E60-13E9E15BCC38}" type="parTrans" cxnId="{6EDBF77E-D5A1-41F1-BD4F-70D889B29D15}">
      <dgm:prSet/>
      <dgm:spPr/>
      <dgm:t>
        <a:bodyPr/>
        <a:lstStyle/>
        <a:p>
          <a:endParaRPr lang="en-US"/>
        </a:p>
      </dgm:t>
    </dgm:pt>
    <dgm:pt modelId="{E8F043D1-68DD-4A49-8B6E-EE12FB9183FF}" type="sibTrans" cxnId="{6EDBF77E-D5A1-41F1-BD4F-70D889B29D15}">
      <dgm:prSet/>
      <dgm:spPr/>
      <dgm:t>
        <a:bodyPr/>
        <a:lstStyle/>
        <a:p>
          <a:endParaRPr lang="en-US"/>
        </a:p>
      </dgm:t>
    </dgm:pt>
    <dgm:pt modelId="{FED88492-7146-4143-83F3-0E7B31373FBA}">
      <dgm:prSet/>
      <dgm:spPr/>
      <dgm:t>
        <a:bodyPr/>
        <a:lstStyle/>
        <a:p>
          <a:r>
            <a:rPr lang="en-US" dirty="0"/>
            <a:t>Firm financial statements</a:t>
          </a:r>
        </a:p>
      </dgm:t>
    </dgm:pt>
    <dgm:pt modelId="{97CF01DF-F183-4B80-9316-522E2AFD4044}" type="parTrans" cxnId="{1E8A4DEF-0E5B-4F65-985B-49CBE248EE13}">
      <dgm:prSet/>
      <dgm:spPr/>
      <dgm:t>
        <a:bodyPr/>
        <a:lstStyle/>
        <a:p>
          <a:endParaRPr lang="en-US"/>
        </a:p>
      </dgm:t>
    </dgm:pt>
    <dgm:pt modelId="{05A8D141-08CE-4D2D-A8A6-FAF5F2238A09}" type="sibTrans" cxnId="{1E8A4DEF-0E5B-4F65-985B-49CBE248EE13}">
      <dgm:prSet/>
      <dgm:spPr/>
      <dgm:t>
        <a:bodyPr/>
        <a:lstStyle/>
        <a:p>
          <a:endParaRPr lang="en-US"/>
        </a:p>
      </dgm:t>
    </dgm:pt>
    <dgm:pt modelId="{7C336B10-1BD8-4A63-9397-81B77B039478}" type="pres">
      <dgm:prSet presAssocID="{EB428F9A-0889-4931-A503-0BF6AF03FA94}" presName="Name0" presStyleCnt="0">
        <dgm:presLayoutVars>
          <dgm:dir/>
          <dgm:animLvl val="lvl"/>
          <dgm:resizeHandles val="exact"/>
        </dgm:presLayoutVars>
      </dgm:prSet>
      <dgm:spPr/>
      <dgm:t>
        <a:bodyPr/>
        <a:lstStyle/>
        <a:p>
          <a:endParaRPr lang="en-US"/>
        </a:p>
      </dgm:t>
    </dgm:pt>
    <dgm:pt modelId="{2F3F03F8-4ED6-479C-A948-70A2675ACAC0}" type="pres">
      <dgm:prSet presAssocID="{E2A98472-2B5C-4E9D-AF7D-AAE70034B797}" presName="composite" presStyleCnt="0"/>
      <dgm:spPr/>
    </dgm:pt>
    <dgm:pt modelId="{23E44980-3230-4865-A7EF-69BD97CF7932}" type="pres">
      <dgm:prSet presAssocID="{E2A98472-2B5C-4E9D-AF7D-AAE70034B797}" presName="parTx" presStyleLbl="alignNode1" presStyleIdx="0" presStyleCnt="4">
        <dgm:presLayoutVars>
          <dgm:chMax val="0"/>
          <dgm:chPref val="0"/>
          <dgm:bulletEnabled val="1"/>
        </dgm:presLayoutVars>
      </dgm:prSet>
      <dgm:spPr/>
      <dgm:t>
        <a:bodyPr/>
        <a:lstStyle/>
        <a:p>
          <a:endParaRPr lang="en-US"/>
        </a:p>
      </dgm:t>
    </dgm:pt>
    <dgm:pt modelId="{0B577BF1-E23C-4CC0-8994-C2110EBD3F88}" type="pres">
      <dgm:prSet presAssocID="{E2A98472-2B5C-4E9D-AF7D-AAE70034B797}" presName="desTx" presStyleLbl="alignAccFollowNode1" presStyleIdx="0" presStyleCnt="4" custScaleY="96968">
        <dgm:presLayoutVars>
          <dgm:bulletEnabled val="1"/>
        </dgm:presLayoutVars>
      </dgm:prSet>
      <dgm:spPr/>
      <dgm:t>
        <a:bodyPr/>
        <a:lstStyle/>
        <a:p>
          <a:endParaRPr lang="en-US"/>
        </a:p>
      </dgm:t>
    </dgm:pt>
    <dgm:pt modelId="{2DE14404-B759-4DD8-8A15-C4A84B3360B4}" type="pres">
      <dgm:prSet presAssocID="{AE66A5F1-495B-4828-BD31-C75EAA5DD855}" presName="space" presStyleCnt="0"/>
      <dgm:spPr/>
    </dgm:pt>
    <dgm:pt modelId="{293A8201-985A-4282-8609-E2A6669CA0F6}" type="pres">
      <dgm:prSet presAssocID="{F657B3F0-DA9B-4852-86EC-ABDDDBA58751}" presName="composite" presStyleCnt="0"/>
      <dgm:spPr/>
    </dgm:pt>
    <dgm:pt modelId="{1A240E90-92FA-456F-AF3D-864D8F4DA79E}" type="pres">
      <dgm:prSet presAssocID="{F657B3F0-DA9B-4852-86EC-ABDDDBA58751}" presName="parTx" presStyleLbl="alignNode1" presStyleIdx="1" presStyleCnt="4">
        <dgm:presLayoutVars>
          <dgm:chMax val="0"/>
          <dgm:chPref val="0"/>
          <dgm:bulletEnabled val="1"/>
        </dgm:presLayoutVars>
      </dgm:prSet>
      <dgm:spPr/>
      <dgm:t>
        <a:bodyPr/>
        <a:lstStyle/>
        <a:p>
          <a:endParaRPr lang="en-US"/>
        </a:p>
      </dgm:t>
    </dgm:pt>
    <dgm:pt modelId="{E24FE938-E256-4532-884C-2D906EA278CF}" type="pres">
      <dgm:prSet presAssocID="{F657B3F0-DA9B-4852-86EC-ABDDDBA58751}" presName="desTx" presStyleLbl="alignAccFollowNode1" presStyleIdx="1" presStyleCnt="4">
        <dgm:presLayoutVars>
          <dgm:bulletEnabled val="1"/>
        </dgm:presLayoutVars>
      </dgm:prSet>
      <dgm:spPr/>
      <dgm:t>
        <a:bodyPr/>
        <a:lstStyle/>
        <a:p>
          <a:endParaRPr lang="en-US"/>
        </a:p>
      </dgm:t>
    </dgm:pt>
    <dgm:pt modelId="{2ABD264B-A560-4AE8-9FC6-46D19CB3336B}" type="pres">
      <dgm:prSet presAssocID="{34588E83-D89D-4BE8-8403-1D0161861DFE}" presName="space" presStyleCnt="0"/>
      <dgm:spPr/>
    </dgm:pt>
    <dgm:pt modelId="{77D8E38D-B66F-40D3-B7A4-0CC2A75ED04C}" type="pres">
      <dgm:prSet presAssocID="{8CDC53DE-B1B0-4741-B6EA-34A8EE729D60}" presName="composite" presStyleCnt="0"/>
      <dgm:spPr/>
    </dgm:pt>
    <dgm:pt modelId="{74580B55-54FA-450E-80C1-B0B0CE59858E}" type="pres">
      <dgm:prSet presAssocID="{8CDC53DE-B1B0-4741-B6EA-34A8EE729D60}" presName="parTx" presStyleLbl="alignNode1" presStyleIdx="2" presStyleCnt="4">
        <dgm:presLayoutVars>
          <dgm:chMax val="0"/>
          <dgm:chPref val="0"/>
          <dgm:bulletEnabled val="1"/>
        </dgm:presLayoutVars>
      </dgm:prSet>
      <dgm:spPr/>
      <dgm:t>
        <a:bodyPr/>
        <a:lstStyle/>
        <a:p>
          <a:endParaRPr lang="en-US"/>
        </a:p>
      </dgm:t>
    </dgm:pt>
    <dgm:pt modelId="{6AE27FF8-059A-4F55-A15B-0418CDEB2D95}" type="pres">
      <dgm:prSet presAssocID="{8CDC53DE-B1B0-4741-B6EA-34A8EE729D60}" presName="desTx" presStyleLbl="alignAccFollowNode1" presStyleIdx="2" presStyleCnt="4">
        <dgm:presLayoutVars>
          <dgm:bulletEnabled val="1"/>
        </dgm:presLayoutVars>
      </dgm:prSet>
      <dgm:spPr/>
      <dgm:t>
        <a:bodyPr/>
        <a:lstStyle/>
        <a:p>
          <a:endParaRPr lang="en-US"/>
        </a:p>
      </dgm:t>
    </dgm:pt>
    <dgm:pt modelId="{5DF75ACE-561E-4FE0-94DF-BB863D02E270}" type="pres">
      <dgm:prSet presAssocID="{B48B8A30-B19D-451F-AD1F-7687C629D683}" presName="space" presStyleCnt="0"/>
      <dgm:spPr/>
    </dgm:pt>
    <dgm:pt modelId="{CA57A20D-6AAC-44CF-8575-962139589BF3}" type="pres">
      <dgm:prSet presAssocID="{907FD242-8A73-49A2-A62D-49023F47D57E}" presName="composite" presStyleCnt="0"/>
      <dgm:spPr/>
    </dgm:pt>
    <dgm:pt modelId="{0CBFAC94-068E-4E86-A3D9-B779AA7CD0F8}" type="pres">
      <dgm:prSet presAssocID="{907FD242-8A73-49A2-A62D-49023F47D57E}" presName="parTx" presStyleLbl="alignNode1" presStyleIdx="3" presStyleCnt="4">
        <dgm:presLayoutVars>
          <dgm:chMax val="0"/>
          <dgm:chPref val="0"/>
          <dgm:bulletEnabled val="1"/>
        </dgm:presLayoutVars>
      </dgm:prSet>
      <dgm:spPr/>
      <dgm:t>
        <a:bodyPr/>
        <a:lstStyle/>
        <a:p>
          <a:endParaRPr lang="en-US"/>
        </a:p>
      </dgm:t>
    </dgm:pt>
    <dgm:pt modelId="{40B10A9E-2690-49AE-B423-EACC5441F9FC}" type="pres">
      <dgm:prSet presAssocID="{907FD242-8A73-49A2-A62D-49023F47D57E}" presName="desTx" presStyleLbl="alignAccFollowNode1" presStyleIdx="3" presStyleCnt="4">
        <dgm:presLayoutVars>
          <dgm:bulletEnabled val="1"/>
        </dgm:presLayoutVars>
      </dgm:prSet>
      <dgm:spPr/>
      <dgm:t>
        <a:bodyPr/>
        <a:lstStyle/>
        <a:p>
          <a:endParaRPr lang="en-US"/>
        </a:p>
      </dgm:t>
    </dgm:pt>
  </dgm:ptLst>
  <dgm:cxnLst>
    <dgm:cxn modelId="{2B2C4203-F654-44B7-9C50-E62644E511F0}" srcId="{E2A98472-2B5C-4E9D-AF7D-AAE70034B797}" destId="{61469B56-D45B-49B8-B375-4D01980D2E0E}" srcOrd="0" destOrd="0" parTransId="{A110579E-C36C-47B9-8EC1-1857DA5131D7}" sibTransId="{1A8091EF-D7D1-440C-8B68-02997E9F297F}"/>
    <dgm:cxn modelId="{D4D8158C-B712-45E1-9453-71ED78E123C3}" type="presOf" srcId="{15C4B7F2-EF1B-41BA-B20A-F22C6FFACAB3}" destId="{0B577BF1-E23C-4CC0-8994-C2110EBD3F88}" srcOrd="0" destOrd="1" presId="urn:microsoft.com/office/officeart/2005/8/layout/hList1"/>
    <dgm:cxn modelId="{AB3750B7-35DB-4084-96A2-D5D1247DBD77}" srcId="{E2A98472-2B5C-4E9D-AF7D-AAE70034B797}" destId="{8D986C14-AB23-4139-A7D2-90C1EDCE0706}" srcOrd="3" destOrd="0" parTransId="{D0D0D503-B9D8-47C2-9D79-7271A8D1B32F}" sibTransId="{E99E6DFE-7823-4551-941D-A0B1733E4679}"/>
    <dgm:cxn modelId="{5329E2BC-C58D-41CC-9203-32E449A8BF2C}" type="presOf" srcId="{907FD242-8A73-49A2-A62D-49023F47D57E}" destId="{0CBFAC94-068E-4E86-A3D9-B779AA7CD0F8}" srcOrd="0" destOrd="0" presId="urn:microsoft.com/office/officeart/2005/8/layout/hList1"/>
    <dgm:cxn modelId="{F39C0617-B4CA-41C9-8503-C30CCE384976}" type="presOf" srcId="{61469B56-D45B-49B8-B375-4D01980D2E0E}" destId="{0B577BF1-E23C-4CC0-8994-C2110EBD3F88}" srcOrd="0" destOrd="0" presId="urn:microsoft.com/office/officeart/2005/8/layout/hList1"/>
    <dgm:cxn modelId="{6A7BD134-DB09-4A75-8C9E-B96AD7D92DF5}" type="presOf" srcId="{D1D68FA5-439C-4C28-9ABC-9B4CAB729C86}" destId="{6AE27FF8-059A-4F55-A15B-0418CDEB2D95}" srcOrd="0" destOrd="1" presId="urn:microsoft.com/office/officeart/2005/8/layout/hList1"/>
    <dgm:cxn modelId="{A829BA6A-3157-423A-BD3C-3F7CDE3DE5D3}" type="presOf" srcId="{0E7F1190-0C6D-4B60-B8C9-06F40622B0AA}" destId="{6AE27FF8-059A-4F55-A15B-0418CDEB2D95}" srcOrd="0" destOrd="3" presId="urn:microsoft.com/office/officeart/2005/8/layout/hList1"/>
    <dgm:cxn modelId="{4A17BE2D-89A7-4E67-8081-6C7BFD3CEF9B}" type="presOf" srcId="{EB428F9A-0889-4931-A503-0BF6AF03FA94}" destId="{7C336B10-1BD8-4A63-9397-81B77B039478}" srcOrd="0" destOrd="0" presId="urn:microsoft.com/office/officeart/2005/8/layout/hList1"/>
    <dgm:cxn modelId="{0984A868-1BFE-4940-8415-32C375B78829}" srcId="{8CDC53DE-B1B0-4741-B6EA-34A8EE729D60}" destId="{D1D68FA5-439C-4C28-9ABC-9B4CAB729C86}" srcOrd="1" destOrd="0" parTransId="{79C1CCCA-4E49-4114-8A74-B8A261D7FB6E}" sibTransId="{EFDA049F-716B-46E5-A233-B99CDFBBBA36}"/>
    <dgm:cxn modelId="{8BFC1941-B57C-4943-825F-0C306273228C}" type="presOf" srcId="{7EDE822F-780B-4B18-ACD3-B0EF513AC2A5}" destId="{E24FE938-E256-4532-884C-2D906EA278CF}" srcOrd="0" destOrd="3" presId="urn:microsoft.com/office/officeart/2005/8/layout/hList1"/>
    <dgm:cxn modelId="{6C768BCD-3218-4429-9D64-DF86D9084DF4}" type="presOf" srcId="{375B189D-F40B-4C72-AA51-676F21C368AF}" destId="{E24FE938-E256-4532-884C-2D906EA278CF}" srcOrd="0" destOrd="1" presId="urn:microsoft.com/office/officeart/2005/8/layout/hList1"/>
    <dgm:cxn modelId="{E9F96D65-6705-4349-B56F-76DD925EC0DA}" srcId="{8CDC53DE-B1B0-4741-B6EA-34A8EE729D60}" destId="{0E7F1190-0C6D-4B60-B8C9-06F40622B0AA}" srcOrd="3" destOrd="0" parTransId="{DCBD568D-F929-4B16-ADD0-D66747A6173B}" sibTransId="{1DD486F5-9C48-4461-9147-FA42E8F7F509}"/>
    <dgm:cxn modelId="{146251C4-2AA5-48BA-98A6-6CF2BAF2AFA8}" type="presOf" srcId="{9B59AF10-6F02-4948-AE22-F12C662F18CE}" destId="{6AE27FF8-059A-4F55-A15B-0418CDEB2D95}" srcOrd="0" destOrd="2" presId="urn:microsoft.com/office/officeart/2005/8/layout/hList1"/>
    <dgm:cxn modelId="{1E8A4DEF-0E5B-4F65-985B-49CBE248EE13}" srcId="{907FD242-8A73-49A2-A62D-49023F47D57E}" destId="{FED88492-7146-4143-83F3-0E7B31373FBA}" srcOrd="2" destOrd="0" parTransId="{97CF01DF-F183-4B80-9316-522E2AFD4044}" sibTransId="{05A8D141-08CE-4D2D-A8A6-FAF5F2238A09}"/>
    <dgm:cxn modelId="{B9F000DE-1D5D-470B-94CD-58801D1FDEA9}" srcId="{F657B3F0-DA9B-4852-86EC-ABDDDBA58751}" destId="{375B189D-F40B-4C72-AA51-676F21C368AF}" srcOrd="1" destOrd="0" parTransId="{004E143C-8CC4-4F15-BFEA-DA3B9ABD6560}" sibTransId="{44B3BB1A-C743-4DF8-98B0-DC9F8EE6DCE8}"/>
    <dgm:cxn modelId="{DA1A40F7-F697-49BA-AF94-4BD6B55B9003}" type="presOf" srcId="{FED88492-7146-4143-83F3-0E7B31373FBA}" destId="{40B10A9E-2690-49AE-B423-EACC5441F9FC}" srcOrd="0" destOrd="2" presId="urn:microsoft.com/office/officeart/2005/8/layout/hList1"/>
    <dgm:cxn modelId="{F91AEFE3-A4A5-4AD3-BE90-C5569C12606F}" srcId="{EB428F9A-0889-4931-A503-0BF6AF03FA94}" destId="{E2A98472-2B5C-4E9D-AF7D-AAE70034B797}" srcOrd="0" destOrd="0" parTransId="{850F5406-368F-4CA4-ABF0-093265390C9D}" sibTransId="{AE66A5F1-495B-4828-BD31-C75EAA5DD855}"/>
    <dgm:cxn modelId="{6EDBF77E-D5A1-41F1-BD4F-70D889B29D15}" srcId="{907FD242-8A73-49A2-A62D-49023F47D57E}" destId="{75C55B84-DA11-4333-BA42-2B27426716EC}" srcOrd="1" destOrd="0" parTransId="{7C284402-1880-437B-8E60-13E9E15BCC38}" sibTransId="{E8F043D1-68DD-4A49-8B6E-EE12FB9183FF}"/>
    <dgm:cxn modelId="{9F8734AA-07E9-430C-86C0-03BA8921E5B9}" type="presOf" srcId="{940D3C1D-E175-437A-8F25-DFBD8FCC4CF6}" destId="{E24FE938-E256-4532-884C-2D906EA278CF}" srcOrd="0" destOrd="0" presId="urn:microsoft.com/office/officeart/2005/8/layout/hList1"/>
    <dgm:cxn modelId="{17C19134-FEA5-43E2-A180-53CF2BC45552}" srcId="{F657B3F0-DA9B-4852-86EC-ABDDDBA58751}" destId="{073E9F58-6B94-468A-971F-7F0C406340EC}" srcOrd="2" destOrd="0" parTransId="{D1CF5977-E819-45B7-9643-DE4EF40F7F7B}" sibTransId="{9B8222A3-89DD-4EB1-BF50-2DFE7F057162}"/>
    <dgm:cxn modelId="{29160A8F-692E-4B92-8FB7-B9441809C325}" srcId="{907FD242-8A73-49A2-A62D-49023F47D57E}" destId="{EBB74C55-58E3-4392-A117-C647A9A57AD1}" srcOrd="0" destOrd="0" parTransId="{AFCFED7C-34AD-4FD1-AD03-FA07538BF83F}" sibTransId="{F9075FA0-38BE-4FC4-AA4B-EA4E489B9E00}"/>
    <dgm:cxn modelId="{C33A28B6-164D-46DE-A84C-2E26EA63F87A}" srcId="{F657B3F0-DA9B-4852-86EC-ABDDDBA58751}" destId="{7EDE822F-780B-4B18-ACD3-B0EF513AC2A5}" srcOrd="3" destOrd="0" parTransId="{F3F08DD8-EE1F-4E52-906F-6220689F89B7}" sibTransId="{576C7D45-BB36-4507-AB25-C01038ED737B}"/>
    <dgm:cxn modelId="{41E2CAB8-8513-4623-A1FE-9B18194BF542}" type="presOf" srcId="{E2A98472-2B5C-4E9D-AF7D-AAE70034B797}" destId="{23E44980-3230-4865-A7EF-69BD97CF7932}" srcOrd="0" destOrd="0" presId="urn:microsoft.com/office/officeart/2005/8/layout/hList1"/>
    <dgm:cxn modelId="{43417484-19D8-4CE2-88B6-D6792372DB0F}" srcId="{EB428F9A-0889-4931-A503-0BF6AF03FA94}" destId="{8CDC53DE-B1B0-4741-B6EA-34A8EE729D60}" srcOrd="2" destOrd="0" parTransId="{02670DFD-9BBD-48C3-8EFC-5CB84F971535}" sibTransId="{B48B8A30-B19D-451F-AD1F-7687C629D683}"/>
    <dgm:cxn modelId="{FEBC17A2-A66D-4519-A1DE-EBC73BAC888D}" type="presOf" srcId="{073E9F58-6B94-468A-971F-7F0C406340EC}" destId="{E24FE938-E256-4532-884C-2D906EA278CF}" srcOrd="0" destOrd="2" presId="urn:microsoft.com/office/officeart/2005/8/layout/hList1"/>
    <dgm:cxn modelId="{5FF85E75-6EC5-4AB5-9437-536BD2B3994A}" srcId="{E2A98472-2B5C-4E9D-AF7D-AAE70034B797}" destId="{40BD4BE9-4C0F-4E79-AF5D-2F6A46A3983F}" srcOrd="2" destOrd="0" parTransId="{5EF50886-7771-49CD-B1D1-91FBEB2772FF}" sibTransId="{B1FCC9A0-DD1E-4249-A67F-D48C11DC0782}"/>
    <dgm:cxn modelId="{14A782B7-E558-4627-9D3C-530F753E4FE3}" srcId="{EB428F9A-0889-4931-A503-0BF6AF03FA94}" destId="{F657B3F0-DA9B-4852-86EC-ABDDDBA58751}" srcOrd="1" destOrd="0" parTransId="{371B35D3-D8EC-466B-8D9F-254461FE0E98}" sibTransId="{34588E83-D89D-4BE8-8403-1D0161861DFE}"/>
    <dgm:cxn modelId="{D5CACD02-3FE2-4EB4-B2FE-581F0BAA6B2B}" srcId="{8CDC53DE-B1B0-4741-B6EA-34A8EE729D60}" destId="{53F2E8DD-1081-400D-8202-10487021B8D2}" srcOrd="0" destOrd="0" parTransId="{CB4E17CF-4706-43DD-B3E9-FF7D83A80DEA}" sibTransId="{75A69BBF-4857-4EF6-B08B-636CFCB523B3}"/>
    <dgm:cxn modelId="{D01FA7A9-DE25-4906-977E-1A0B5AB1C818}" type="presOf" srcId="{40BD4BE9-4C0F-4E79-AF5D-2F6A46A3983F}" destId="{0B577BF1-E23C-4CC0-8994-C2110EBD3F88}" srcOrd="0" destOrd="2" presId="urn:microsoft.com/office/officeart/2005/8/layout/hList1"/>
    <dgm:cxn modelId="{5B93D4C7-248C-42C2-8EA2-935DF813AF57}" srcId="{EB428F9A-0889-4931-A503-0BF6AF03FA94}" destId="{907FD242-8A73-49A2-A62D-49023F47D57E}" srcOrd="3" destOrd="0" parTransId="{FEF5D4B4-91BF-4F7C-A2D9-BC6B36414568}" sibTransId="{E769019C-726C-4A24-98EB-67876A80119F}"/>
    <dgm:cxn modelId="{91339C79-3F91-45D2-8A9F-1BCA5B215AB4}" srcId="{8CDC53DE-B1B0-4741-B6EA-34A8EE729D60}" destId="{9B59AF10-6F02-4948-AE22-F12C662F18CE}" srcOrd="2" destOrd="0" parTransId="{6315698C-6759-45F6-944A-E05116670188}" sibTransId="{21506361-0AB4-4F05-823E-E022ACCDF034}"/>
    <dgm:cxn modelId="{4EBB8955-7421-4B40-99E4-93E63F26BAEA}" type="presOf" srcId="{8CDC53DE-B1B0-4741-B6EA-34A8EE729D60}" destId="{74580B55-54FA-450E-80C1-B0B0CE59858E}" srcOrd="0" destOrd="0" presId="urn:microsoft.com/office/officeart/2005/8/layout/hList1"/>
    <dgm:cxn modelId="{4A2A554E-4C6C-442C-A603-F739EB1B9AA0}" type="presOf" srcId="{F657B3F0-DA9B-4852-86EC-ABDDDBA58751}" destId="{1A240E90-92FA-456F-AF3D-864D8F4DA79E}" srcOrd="0" destOrd="0" presId="urn:microsoft.com/office/officeart/2005/8/layout/hList1"/>
    <dgm:cxn modelId="{DFB037CD-0872-4D0C-BE05-30A3214ABA72}" type="presOf" srcId="{EBB74C55-58E3-4392-A117-C647A9A57AD1}" destId="{40B10A9E-2690-49AE-B423-EACC5441F9FC}" srcOrd="0" destOrd="0" presId="urn:microsoft.com/office/officeart/2005/8/layout/hList1"/>
    <dgm:cxn modelId="{D6CD77A2-F3F8-480E-95A3-E88690576D79}" srcId="{E2A98472-2B5C-4E9D-AF7D-AAE70034B797}" destId="{15C4B7F2-EF1B-41BA-B20A-F22C6FFACAB3}" srcOrd="1" destOrd="0" parTransId="{99D71231-756B-4C6C-9F1B-557590F3BDAF}" sibTransId="{5A037349-2DE5-433C-949D-D17410391401}"/>
    <dgm:cxn modelId="{AEE89A2D-5519-492B-9B45-64154ACAF680}" type="presOf" srcId="{53F2E8DD-1081-400D-8202-10487021B8D2}" destId="{6AE27FF8-059A-4F55-A15B-0418CDEB2D95}" srcOrd="0" destOrd="0" presId="urn:microsoft.com/office/officeart/2005/8/layout/hList1"/>
    <dgm:cxn modelId="{C50B59FE-F1C7-46C3-84DD-2220CFFD28CF}" type="presOf" srcId="{8D986C14-AB23-4139-A7D2-90C1EDCE0706}" destId="{0B577BF1-E23C-4CC0-8994-C2110EBD3F88}" srcOrd="0" destOrd="3" presId="urn:microsoft.com/office/officeart/2005/8/layout/hList1"/>
    <dgm:cxn modelId="{BFE736AC-E8FF-4213-9F4F-3DA8855EB983}" type="presOf" srcId="{75C55B84-DA11-4333-BA42-2B27426716EC}" destId="{40B10A9E-2690-49AE-B423-EACC5441F9FC}" srcOrd="0" destOrd="1" presId="urn:microsoft.com/office/officeart/2005/8/layout/hList1"/>
    <dgm:cxn modelId="{EEA46065-EFB5-4C20-A065-97EE03713A89}" srcId="{F657B3F0-DA9B-4852-86EC-ABDDDBA58751}" destId="{940D3C1D-E175-437A-8F25-DFBD8FCC4CF6}" srcOrd="0" destOrd="0" parTransId="{E2B72773-FE2C-4F06-9EC5-2212422ABEA5}" sibTransId="{7B280C79-F716-405D-8026-128199295043}"/>
    <dgm:cxn modelId="{67EDEC96-6390-4D34-A1FC-BB90A4E05C7F}" type="presParOf" srcId="{7C336B10-1BD8-4A63-9397-81B77B039478}" destId="{2F3F03F8-4ED6-479C-A948-70A2675ACAC0}" srcOrd="0" destOrd="0" presId="urn:microsoft.com/office/officeart/2005/8/layout/hList1"/>
    <dgm:cxn modelId="{53F3F160-F6F4-48E3-8408-FF782A67D610}" type="presParOf" srcId="{2F3F03F8-4ED6-479C-A948-70A2675ACAC0}" destId="{23E44980-3230-4865-A7EF-69BD97CF7932}" srcOrd="0" destOrd="0" presId="urn:microsoft.com/office/officeart/2005/8/layout/hList1"/>
    <dgm:cxn modelId="{3DA7BAAE-0767-40D4-908A-D23D90439F4C}" type="presParOf" srcId="{2F3F03F8-4ED6-479C-A948-70A2675ACAC0}" destId="{0B577BF1-E23C-4CC0-8994-C2110EBD3F88}" srcOrd="1" destOrd="0" presId="urn:microsoft.com/office/officeart/2005/8/layout/hList1"/>
    <dgm:cxn modelId="{4FF7ABCA-09EF-4F66-837C-B2BA6098529C}" type="presParOf" srcId="{7C336B10-1BD8-4A63-9397-81B77B039478}" destId="{2DE14404-B759-4DD8-8A15-C4A84B3360B4}" srcOrd="1" destOrd="0" presId="urn:microsoft.com/office/officeart/2005/8/layout/hList1"/>
    <dgm:cxn modelId="{04578D60-4B2A-4BF9-B0EB-4D3746446CD8}" type="presParOf" srcId="{7C336B10-1BD8-4A63-9397-81B77B039478}" destId="{293A8201-985A-4282-8609-E2A6669CA0F6}" srcOrd="2" destOrd="0" presId="urn:microsoft.com/office/officeart/2005/8/layout/hList1"/>
    <dgm:cxn modelId="{806A66F4-CA0F-4BCC-BC77-F794614556D3}" type="presParOf" srcId="{293A8201-985A-4282-8609-E2A6669CA0F6}" destId="{1A240E90-92FA-456F-AF3D-864D8F4DA79E}" srcOrd="0" destOrd="0" presId="urn:microsoft.com/office/officeart/2005/8/layout/hList1"/>
    <dgm:cxn modelId="{ABFB1B66-3AD7-4874-A6E4-07358B292E74}" type="presParOf" srcId="{293A8201-985A-4282-8609-E2A6669CA0F6}" destId="{E24FE938-E256-4532-884C-2D906EA278CF}" srcOrd="1" destOrd="0" presId="urn:microsoft.com/office/officeart/2005/8/layout/hList1"/>
    <dgm:cxn modelId="{C9CD64BC-A603-49B8-A3D0-4BEAF93F9120}" type="presParOf" srcId="{7C336B10-1BD8-4A63-9397-81B77B039478}" destId="{2ABD264B-A560-4AE8-9FC6-46D19CB3336B}" srcOrd="3" destOrd="0" presId="urn:microsoft.com/office/officeart/2005/8/layout/hList1"/>
    <dgm:cxn modelId="{B3D41CF9-8133-4616-978A-A785A4559BFC}" type="presParOf" srcId="{7C336B10-1BD8-4A63-9397-81B77B039478}" destId="{77D8E38D-B66F-40D3-B7A4-0CC2A75ED04C}" srcOrd="4" destOrd="0" presId="urn:microsoft.com/office/officeart/2005/8/layout/hList1"/>
    <dgm:cxn modelId="{FAE5749E-7D2A-4394-A541-BCDACB8475D1}" type="presParOf" srcId="{77D8E38D-B66F-40D3-B7A4-0CC2A75ED04C}" destId="{74580B55-54FA-450E-80C1-B0B0CE59858E}" srcOrd="0" destOrd="0" presId="urn:microsoft.com/office/officeart/2005/8/layout/hList1"/>
    <dgm:cxn modelId="{451C7883-4EF8-4496-9576-D20B5F1D76DF}" type="presParOf" srcId="{77D8E38D-B66F-40D3-B7A4-0CC2A75ED04C}" destId="{6AE27FF8-059A-4F55-A15B-0418CDEB2D95}" srcOrd="1" destOrd="0" presId="urn:microsoft.com/office/officeart/2005/8/layout/hList1"/>
    <dgm:cxn modelId="{4B3D1CFF-AE33-4502-BE48-0D52C7495130}" type="presParOf" srcId="{7C336B10-1BD8-4A63-9397-81B77B039478}" destId="{5DF75ACE-561E-4FE0-94DF-BB863D02E270}" srcOrd="5" destOrd="0" presId="urn:microsoft.com/office/officeart/2005/8/layout/hList1"/>
    <dgm:cxn modelId="{506D55C6-214F-49D8-B672-2E1EFE8CE1FF}" type="presParOf" srcId="{7C336B10-1BD8-4A63-9397-81B77B039478}" destId="{CA57A20D-6AAC-44CF-8575-962139589BF3}" srcOrd="6" destOrd="0" presId="urn:microsoft.com/office/officeart/2005/8/layout/hList1"/>
    <dgm:cxn modelId="{9E1B6FD2-FD78-4AB9-8282-7CDB1E8EF7C9}" type="presParOf" srcId="{CA57A20D-6AAC-44CF-8575-962139589BF3}" destId="{0CBFAC94-068E-4E86-A3D9-B779AA7CD0F8}" srcOrd="0" destOrd="0" presId="urn:microsoft.com/office/officeart/2005/8/layout/hList1"/>
    <dgm:cxn modelId="{E8BC139C-5E8D-4483-BC62-C682588B6F7A}" type="presParOf" srcId="{CA57A20D-6AAC-44CF-8575-962139589BF3}" destId="{40B10A9E-2690-49AE-B423-EACC5441F9F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965A1C-891F-4532-98F3-D76527673095}">
      <dsp:nvSpPr>
        <dsp:cNvPr id="0" name=""/>
        <dsp:cNvSpPr/>
      </dsp:nvSpPr>
      <dsp:spPr>
        <a:xfrm>
          <a:off x="-4594335" y="-704407"/>
          <a:ext cx="5472816" cy="5472816"/>
        </a:xfrm>
        <a:prstGeom prst="blockArc">
          <a:avLst>
            <a:gd name="adj1" fmla="val 18900000"/>
            <a:gd name="adj2" fmla="val 2700000"/>
            <a:gd name="adj3" fmla="val 39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5BAB58-FB95-4EE6-A76D-52A29E3CBC90}">
      <dsp:nvSpPr>
        <dsp:cNvPr id="0" name=""/>
        <dsp:cNvSpPr/>
      </dsp:nvSpPr>
      <dsp:spPr>
        <a:xfrm>
          <a:off x="460128" y="312440"/>
          <a:ext cx="5580684" cy="625205"/>
        </a:xfrm>
        <a:prstGeom prst="rect">
          <a:avLst/>
        </a:prstGeom>
        <a:solidFill>
          <a:srgbClr val="C8BEA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48260" rIns="48260" bIns="48260" numCol="1" spcCol="1270" anchor="ctr" anchorCtr="0">
          <a:noAutofit/>
        </a:bodyPr>
        <a:lstStyle/>
        <a:p>
          <a:pPr lvl="0" algn="l" defTabSz="844550">
            <a:lnSpc>
              <a:spcPct val="90000"/>
            </a:lnSpc>
            <a:spcBef>
              <a:spcPct val="0"/>
            </a:spcBef>
            <a:spcAft>
              <a:spcPct val="35000"/>
            </a:spcAft>
          </a:pPr>
          <a:r>
            <a:rPr lang="en-US" sz="1900" kern="1200" dirty="0"/>
            <a:t>Conducted information governance assessment workshops</a:t>
          </a:r>
        </a:p>
      </dsp:txBody>
      <dsp:txXfrm>
        <a:off x="460128" y="312440"/>
        <a:ext cx="5580684" cy="625205"/>
      </dsp:txXfrm>
    </dsp:sp>
    <dsp:sp modelId="{612C964D-52BD-4F30-87C9-C67EC787C79B}">
      <dsp:nvSpPr>
        <dsp:cNvPr id="0" name=""/>
        <dsp:cNvSpPr/>
      </dsp:nvSpPr>
      <dsp:spPr>
        <a:xfrm>
          <a:off x="69375" y="234289"/>
          <a:ext cx="781507" cy="78150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D892-E3C6-47A8-B3B5-62387203DD06}">
      <dsp:nvSpPr>
        <dsp:cNvPr id="0" name=""/>
        <dsp:cNvSpPr/>
      </dsp:nvSpPr>
      <dsp:spPr>
        <a:xfrm>
          <a:off x="818573" y="1250411"/>
          <a:ext cx="5222240" cy="625205"/>
        </a:xfrm>
        <a:prstGeom prst="rect">
          <a:avLst/>
        </a:prstGeom>
        <a:solidFill>
          <a:srgbClr val="00A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48260" rIns="48260" bIns="48260" numCol="1" spcCol="1270" anchor="ctr" anchorCtr="0">
          <a:noAutofit/>
        </a:bodyPr>
        <a:lstStyle/>
        <a:p>
          <a:pPr lvl="0" algn="l" defTabSz="844550">
            <a:lnSpc>
              <a:spcPct val="90000"/>
            </a:lnSpc>
            <a:spcBef>
              <a:spcPct val="0"/>
            </a:spcBef>
            <a:spcAft>
              <a:spcPct val="35000"/>
            </a:spcAft>
          </a:pPr>
          <a:r>
            <a:rPr lang="en-US" sz="1900" kern="1200" dirty="0"/>
            <a:t>Created information management policy</a:t>
          </a:r>
        </a:p>
      </dsp:txBody>
      <dsp:txXfrm>
        <a:off x="818573" y="1250411"/>
        <a:ext cx="5222240" cy="625205"/>
      </dsp:txXfrm>
    </dsp:sp>
    <dsp:sp modelId="{174DDB23-C722-4699-BC85-989C61D3F0A5}">
      <dsp:nvSpPr>
        <dsp:cNvPr id="0" name=""/>
        <dsp:cNvSpPr/>
      </dsp:nvSpPr>
      <dsp:spPr>
        <a:xfrm>
          <a:off x="427819" y="1172260"/>
          <a:ext cx="781507" cy="78150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1B79D15-97E5-4EAB-AB3E-B9369A202A08}">
      <dsp:nvSpPr>
        <dsp:cNvPr id="0" name=""/>
        <dsp:cNvSpPr/>
      </dsp:nvSpPr>
      <dsp:spPr>
        <a:xfrm>
          <a:off x="818573" y="2212634"/>
          <a:ext cx="5222240" cy="625205"/>
        </a:xfrm>
        <a:prstGeom prst="rect">
          <a:avLst/>
        </a:prstGeom>
        <a:solidFill>
          <a:srgbClr val="FF74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48260" rIns="48260" bIns="48260" numCol="1" spcCol="1270" anchor="ctr" anchorCtr="0">
          <a:noAutofit/>
        </a:bodyPr>
        <a:lstStyle/>
        <a:p>
          <a:pPr lvl="0" algn="l" defTabSz="844550">
            <a:lnSpc>
              <a:spcPct val="90000"/>
            </a:lnSpc>
            <a:spcBef>
              <a:spcPct val="0"/>
            </a:spcBef>
            <a:spcAft>
              <a:spcPct val="35000"/>
            </a:spcAft>
          </a:pPr>
          <a:r>
            <a:rPr lang="en-US" sz="1900" kern="1200" dirty="0"/>
            <a:t>Created records retention schedule</a:t>
          </a:r>
        </a:p>
      </dsp:txBody>
      <dsp:txXfrm>
        <a:off x="818573" y="2212634"/>
        <a:ext cx="5222240" cy="625205"/>
      </dsp:txXfrm>
    </dsp:sp>
    <dsp:sp modelId="{BBB70EAE-E514-4862-A870-862E46ED7134}">
      <dsp:nvSpPr>
        <dsp:cNvPr id="0" name=""/>
        <dsp:cNvSpPr/>
      </dsp:nvSpPr>
      <dsp:spPr>
        <a:xfrm>
          <a:off x="427819" y="2110232"/>
          <a:ext cx="781507" cy="78150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6FE5ABC-AE74-482E-8C7B-5175092FE06A}">
      <dsp:nvSpPr>
        <dsp:cNvPr id="0" name=""/>
        <dsp:cNvSpPr/>
      </dsp:nvSpPr>
      <dsp:spPr>
        <a:xfrm>
          <a:off x="460128" y="3126353"/>
          <a:ext cx="5580684" cy="625205"/>
        </a:xfrm>
        <a:prstGeom prst="rect">
          <a:avLst/>
        </a:prstGeom>
        <a:solidFill>
          <a:srgbClr val="55268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48260" rIns="48260" bIns="48260" numCol="1" spcCol="1270" anchor="ctr" anchorCtr="0">
          <a:noAutofit/>
        </a:bodyPr>
        <a:lstStyle/>
        <a:p>
          <a:pPr lvl="0" algn="l" defTabSz="844550">
            <a:lnSpc>
              <a:spcPct val="90000"/>
            </a:lnSpc>
            <a:spcBef>
              <a:spcPct val="0"/>
            </a:spcBef>
            <a:spcAft>
              <a:spcPct val="35000"/>
            </a:spcAft>
          </a:pPr>
          <a:r>
            <a:rPr lang="en-US" sz="1900" kern="1200" dirty="0"/>
            <a:t>Created strategic plan</a:t>
          </a:r>
        </a:p>
      </dsp:txBody>
      <dsp:txXfrm>
        <a:off x="460128" y="3126353"/>
        <a:ext cx="5580684" cy="625205"/>
      </dsp:txXfrm>
    </dsp:sp>
    <dsp:sp modelId="{51F67B57-D032-497F-8CFC-205D0A7A1C90}">
      <dsp:nvSpPr>
        <dsp:cNvPr id="0" name=""/>
        <dsp:cNvSpPr/>
      </dsp:nvSpPr>
      <dsp:spPr>
        <a:xfrm>
          <a:off x="69375" y="3048203"/>
          <a:ext cx="781507" cy="78150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3D2DC1-9791-476A-A219-FCC09A330076}">
      <dsp:nvSpPr>
        <dsp:cNvPr id="0" name=""/>
        <dsp:cNvSpPr/>
      </dsp:nvSpPr>
      <dsp:spPr>
        <a:xfrm>
          <a:off x="3817" y="1114494"/>
          <a:ext cx="2222152" cy="888861"/>
        </a:xfrm>
        <a:prstGeom prst="chevron">
          <a:avLst/>
        </a:prstGeom>
        <a:solidFill>
          <a:srgbClr val="C8BEAF"/>
        </a:solidFill>
        <a:ln w="25400" cap="flat" cmpd="sng" algn="ctr">
          <a:solidFill>
            <a:srgbClr val="C8BEA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US" sz="1900" kern="1200" dirty="0"/>
            <a:t>Provided questionnaire</a:t>
          </a:r>
        </a:p>
      </dsp:txBody>
      <dsp:txXfrm>
        <a:off x="448248" y="1114494"/>
        <a:ext cx="1333291" cy="888861"/>
      </dsp:txXfrm>
    </dsp:sp>
    <dsp:sp modelId="{FE99C3F1-8581-4429-819F-DA85478D615D}">
      <dsp:nvSpPr>
        <dsp:cNvPr id="0" name=""/>
        <dsp:cNvSpPr/>
      </dsp:nvSpPr>
      <dsp:spPr>
        <a:xfrm>
          <a:off x="2003754" y="1114494"/>
          <a:ext cx="2222152" cy="888861"/>
        </a:xfrm>
        <a:prstGeom prst="chevron">
          <a:avLst/>
        </a:prstGeom>
        <a:solidFill>
          <a:srgbClr val="E6284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US" sz="1900" kern="1200" dirty="0"/>
            <a:t>Met with the business</a:t>
          </a:r>
        </a:p>
      </dsp:txBody>
      <dsp:txXfrm>
        <a:off x="2448185" y="1114494"/>
        <a:ext cx="1333291" cy="888861"/>
      </dsp:txXfrm>
    </dsp:sp>
    <dsp:sp modelId="{333ACC18-0FE9-4649-84F7-AC21170EE8C5}">
      <dsp:nvSpPr>
        <dsp:cNvPr id="0" name=""/>
        <dsp:cNvSpPr/>
      </dsp:nvSpPr>
      <dsp:spPr>
        <a:xfrm>
          <a:off x="4003692" y="1114494"/>
          <a:ext cx="2222152" cy="888861"/>
        </a:xfrm>
        <a:prstGeom prst="chevron">
          <a:avLst/>
        </a:prstGeom>
        <a:solidFill>
          <a:srgbClr val="FF7D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US" sz="1900" kern="1200" dirty="0"/>
            <a:t>Clarified questionnaire responses</a:t>
          </a:r>
        </a:p>
      </dsp:txBody>
      <dsp:txXfrm>
        <a:off x="4448123" y="1114494"/>
        <a:ext cx="1333291" cy="888861"/>
      </dsp:txXfrm>
    </dsp:sp>
    <dsp:sp modelId="{8A33CA4D-AAE5-4123-9CA1-CD6C27D3D946}">
      <dsp:nvSpPr>
        <dsp:cNvPr id="0" name=""/>
        <dsp:cNvSpPr/>
      </dsp:nvSpPr>
      <dsp:spPr>
        <a:xfrm>
          <a:off x="6003629" y="1114494"/>
          <a:ext cx="2222152" cy="888861"/>
        </a:xfrm>
        <a:prstGeom prst="chevron">
          <a:avLst/>
        </a:prstGeom>
        <a:solidFill>
          <a:srgbClr val="4F2D7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US" sz="1900" kern="1200" dirty="0"/>
            <a:t>Assembled aggregated responses</a:t>
          </a:r>
        </a:p>
      </dsp:txBody>
      <dsp:txXfrm>
        <a:off x="6448060" y="1114494"/>
        <a:ext cx="1333291" cy="88886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45A2FA-8A29-46E0-A964-73B6754B78FB}">
      <dsp:nvSpPr>
        <dsp:cNvPr id="0" name=""/>
        <dsp:cNvSpPr/>
      </dsp:nvSpPr>
      <dsp:spPr>
        <a:xfrm>
          <a:off x="0" y="113919"/>
          <a:ext cx="6096000" cy="374400"/>
        </a:xfrm>
        <a:prstGeom prst="roundRect">
          <a:avLst/>
        </a:prstGeom>
        <a:solidFill>
          <a:srgbClr val="55268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a:t>Collaboration</a:t>
          </a:r>
        </a:p>
      </dsp:txBody>
      <dsp:txXfrm>
        <a:off x="18277" y="132196"/>
        <a:ext cx="6059446" cy="337846"/>
      </dsp:txXfrm>
    </dsp:sp>
    <dsp:sp modelId="{3893BCA9-5B20-4A5D-B2A6-EA462B0D7D5F}">
      <dsp:nvSpPr>
        <dsp:cNvPr id="0" name=""/>
        <dsp:cNvSpPr/>
      </dsp:nvSpPr>
      <dsp:spPr>
        <a:xfrm>
          <a:off x="0" y="488319"/>
          <a:ext cx="6096000" cy="264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3548"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US" sz="1200" kern="1200" dirty="0"/>
            <a:t>Work together; act as one</a:t>
          </a:r>
        </a:p>
      </dsp:txBody>
      <dsp:txXfrm>
        <a:off x="0" y="488319"/>
        <a:ext cx="6096000" cy="264960"/>
      </dsp:txXfrm>
    </dsp:sp>
    <dsp:sp modelId="{B857DD89-41D8-4E69-B67A-915674AE0868}">
      <dsp:nvSpPr>
        <dsp:cNvPr id="0" name=""/>
        <dsp:cNvSpPr/>
      </dsp:nvSpPr>
      <dsp:spPr>
        <a:xfrm>
          <a:off x="0" y="753279"/>
          <a:ext cx="6096000" cy="374400"/>
        </a:xfrm>
        <a:prstGeom prst="roundRect">
          <a:avLst/>
        </a:prstGeom>
        <a:solidFill>
          <a:srgbClr val="00A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a:t>Leadership</a:t>
          </a:r>
        </a:p>
      </dsp:txBody>
      <dsp:txXfrm>
        <a:off x="18277" y="771556"/>
        <a:ext cx="6059446" cy="337846"/>
      </dsp:txXfrm>
    </dsp:sp>
    <dsp:sp modelId="{30FFB841-0F99-484D-B49B-AF847B6B3CF5}">
      <dsp:nvSpPr>
        <dsp:cNvPr id="0" name=""/>
        <dsp:cNvSpPr/>
      </dsp:nvSpPr>
      <dsp:spPr>
        <a:xfrm>
          <a:off x="0" y="1127679"/>
          <a:ext cx="6096000" cy="264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3548"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US" sz="1200" kern="1200" dirty="0"/>
            <a:t>Build trust; make a difference</a:t>
          </a:r>
        </a:p>
      </dsp:txBody>
      <dsp:txXfrm>
        <a:off x="0" y="1127679"/>
        <a:ext cx="6096000" cy="264960"/>
      </dsp:txXfrm>
    </dsp:sp>
    <dsp:sp modelId="{059E2FFB-7E22-4C36-91AB-318A28B3586E}">
      <dsp:nvSpPr>
        <dsp:cNvPr id="0" name=""/>
        <dsp:cNvSpPr/>
      </dsp:nvSpPr>
      <dsp:spPr>
        <a:xfrm>
          <a:off x="0" y="1392639"/>
          <a:ext cx="6096000" cy="374400"/>
        </a:xfrm>
        <a:prstGeom prst="roundRect">
          <a:avLst/>
        </a:prstGeom>
        <a:solidFill>
          <a:srgbClr val="FF74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a:t>Excellence</a:t>
          </a:r>
        </a:p>
      </dsp:txBody>
      <dsp:txXfrm>
        <a:off x="18277" y="1410916"/>
        <a:ext cx="6059446" cy="337846"/>
      </dsp:txXfrm>
    </dsp:sp>
    <dsp:sp modelId="{CB43726A-6CD3-4D9D-8E0D-7DECC0993205}">
      <dsp:nvSpPr>
        <dsp:cNvPr id="0" name=""/>
        <dsp:cNvSpPr/>
      </dsp:nvSpPr>
      <dsp:spPr>
        <a:xfrm>
          <a:off x="0" y="1767039"/>
          <a:ext cx="6096000" cy="26496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193548"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US" sz="1200" kern="1200" dirty="0"/>
            <a:t>Deliver quality; pursue greatness</a:t>
          </a:r>
        </a:p>
      </dsp:txBody>
      <dsp:txXfrm>
        <a:off x="0" y="1767039"/>
        <a:ext cx="6096000" cy="264960"/>
      </dsp:txXfrm>
    </dsp:sp>
    <dsp:sp modelId="{FBFB9AB2-D335-479B-A167-FB9A28F68F0F}">
      <dsp:nvSpPr>
        <dsp:cNvPr id="0" name=""/>
        <dsp:cNvSpPr/>
      </dsp:nvSpPr>
      <dsp:spPr>
        <a:xfrm>
          <a:off x="0" y="2031999"/>
          <a:ext cx="6096000" cy="374400"/>
        </a:xfrm>
        <a:prstGeom prst="roundRect">
          <a:avLst/>
        </a:prstGeom>
        <a:solidFill>
          <a:srgbClr val="C8BEA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a:t>Agility</a:t>
          </a:r>
        </a:p>
      </dsp:txBody>
      <dsp:txXfrm>
        <a:off x="18277" y="2050276"/>
        <a:ext cx="6059446" cy="337846"/>
      </dsp:txXfrm>
    </dsp:sp>
    <dsp:sp modelId="{7F3DCE6C-3C55-4CC7-9DE1-864D53AEE134}">
      <dsp:nvSpPr>
        <dsp:cNvPr id="0" name=""/>
        <dsp:cNvSpPr/>
      </dsp:nvSpPr>
      <dsp:spPr>
        <a:xfrm>
          <a:off x="0" y="2406399"/>
          <a:ext cx="6096000" cy="26496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193548"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US" sz="1200" kern="1200" dirty="0"/>
            <a:t>See with clarity </a:t>
          </a:r>
          <a:r>
            <a:rPr lang="en-US" sz="1200" i="1" kern="1200" dirty="0"/>
            <a:t>change</a:t>
          </a:r>
          <a:r>
            <a:rPr lang="en-US" sz="1200" kern="1200" dirty="0"/>
            <a:t>; act with purpose</a:t>
          </a:r>
        </a:p>
      </dsp:txBody>
      <dsp:txXfrm>
        <a:off x="0" y="2406399"/>
        <a:ext cx="6096000" cy="264960"/>
      </dsp:txXfrm>
    </dsp:sp>
    <dsp:sp modelId="{6436531A-2E38-4351-9CF9-6EE549F6FE83}">
      <dsp:nvSpPr>
        <dsp:cNvPr id="0" name=""/>
        <dsp:cNvSpPr/>
      </dsp:nvSpPr>
      <dsp:spPr>
        <a:xfrm>
          <a:off x="0" y="2671360"/>
          <a:ext cx="6096000" cy="374400"/>
        </a:xfrm>
        <a:prstGeom prst="roundRect">
          <a:avLst/>
        </a:prstGeom>
        <a:solidFill>
          <a:srgbClr val="55268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a:t>Respect</a:t>
          </a:r>
        </a:p>
      </dsp:txBody>
      <dsp:txXfrm>
        <a:off x="18277" y="2689637"/>
        <a:ext cx="6059446" cy="337846"/>
      </dsp:txXfrm>
    </dsp:sp>
    <dsp:sp modelId="{C023DBF9-939D-4C02-8D6E-04B2CC80E9A1}">
      <dsp:nvSpPr>
        <dsp:cNvPr id="0" name=""/>
        <dsp:cNvSpPr/>
      </dsp:nvSpPr>
      <dsp:spPr>
        <a:xfrm>
          <a:off x="0" y="3045760"/>
          <a:ext cx="6096000" cy="26496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193548"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US" sz="1200" kern="1200" dirty="0"/>
            <a:t>Care deeply; listen intently</a:t>
          </a:r>
        </a:p>
      </dsp:txBody>
      <dsp:txXfrm>
        <a:off x="0" y="3045760"/>
        <a:ext cx="6096000" cy="264960"/>
      </dsp:txXfrm>
    </dsp:sp>
    <dsp:sp modelId="{9EE67748-E6BF-43AE-AECA-171DD9EC0D3C}">
      <dsp:nvSpPr>
        <dsp:cNvPr id="0" name=""/>
        <dsp:cNvSpPr/>
      </dsp:nvSpPr>
      <dsp:spPr>
        <a:xfrm>
          <a:off x="0" y="3310719"/>
          <a:ext cx="6096000" cy="374400"/>
        </a:xfrm>
        <a:prstGeom prst="roundRect">
          <a:avLst/>
        </a:prstGeom>
        <a:solidFill>
          <a:srgbClr val="00A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a:t>Responsibility</a:t>
          </a:r>
        </a:p>
      </dsp:txBody>
      <dsp:txXfrm>
        <a:off x="18277" y="3328996"/>
        <a:ext cx="6059446" cy="337846"/>
      </dsp:txXfrm>
    </dsp:sp>
    <dsp:sp modelId="{79F45E7F-D52F-4F0D-88EE-7A9284B52D58}">
      <dsp:nvSpPr>
        <dsp:cNvPr id="0" name=""/>
        <dsp:cNvSpPr/>
      </dsp:nvSpPr>
      <dsp:spPr>
        <a:xfrm>
          <a:off x="0" y="3685120"/>
          <a:ext cx="6096000" cy="26496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193548"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US" sz="1200" kern="1200" dirty="0"/>
            <a:t>Own your action; be aware of your impact</a:t>
          </a:r>
        </a:p>
      </dsp:txBody>
      <dsp:txXfrm>
        <a:off x="0" y="3685120"/>
        <a:ext cx="6096000" cy="2649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7226DD-70EF-4190-AE44-A3B86B0F3CBD}">
      <dsp:nvSpPr>
        <dsp:cNvPr id="0" name=""/>
        <dsp:cNvSpPr/>
      </dsp:nvSpPr>
      <dsp:spPr>
        <a:xfrm>
          <a:off x="1277350" y="216996"/>
          <a:ext cx="3050663" cy="3050663"/>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a:t>Records Management</a:t>
          </a:r>
        </a:p>
      </dsp:txBody>
      <dsp:txXfrm>
        <a:off x="2841179" y="672780"/>
        <a:ext cx="1035046" cy="708189"/>
      </dsp:txXfrm>
    </dsp:sp>
    <dsp:sp modelId="{D24C95BC-0EB6-4A43-A22C-73B50D80F337}">
      <dsp:nvSpPr>
        <dsp:cNvPr id="0" name=""/>
        <dsp:cNvSpPr/>
      </dsp:nvSpPr>
      <dsp:spPr>
        <a:xfrm>
          <a:off x="1170577" y="364082"/>
          <a:ext cx="3050663" cy="3050663"/>
        </a:xfrm>
        <a:prstGeom prst="pie">
          <a:avLst>
            <a:gd name="adj1" fmla="val 20520000"/>
            <a:gd name="adj2" fmla="val 3240000"/>
          </a:avLst>
        </a:prstGeom>
        <a:solidFill>
          <a:srgbClr val="00A7B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a:t>Information Security</a:t>
          </a:r>
        </a:p>
      </dsp:txBody>
      <dsp:txXfrm>
        <a:off x="3164404" y="1744144"/>
        <a:ext cx="907935" cy="766297"/>
      </dsp:txXfrm>
    </dsp:sp>
    <dsp:sp modelId="{EEC5623E-408E-4AF9-8B0D-A092ACE98746}">
      <dsp:nvSpPr>
        <dsp:cNvPr id="0" name=""/>
        <dsp:cNvSpPr/>
      </dsp:nvSpPr>
      <dsp:spPr>
        <a:xfrm>
          <a:off x="1170577" y="364082"/>
          <a:ext cx="3050663" cy="3050663"/>
        </a:xfrm>
        <a:prstGeom prst="pie">
          <a:avLst>
            <a:gd name="adj1" fmla="val 3240000"/>
            <a:gd name="adj2" fmla="val 7560000"/>
          </a:avLst>
        </a:prstGeom>
        <a:solidFill>
          <a:srgbClr val="FF7D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a:t>E-Discovery</a:t>
          </a:r>
        </a:p>
      </dsp:txBody>
      <dsp:txXfrm>
        <a:off x="2151148" y="2652079"/>
        <a:ext cx="1089522" cy="653713"/>
      </dsp:txXfrm>
    </dsp:sp>
    <dsp:sp modelId="{0D2F9801-3C0E-4984-96DB-5626378FB57D}">
      <dsp:nvSpPr>
        <dsp:cNvPr id="0" name=""/>
        <dsp:cNvSpPr/>
      </dsp:nvSpPr>
      <dsp:spPr>
        <a:xfrm>
          <a:off x="1170577" y="364082"/>
          <a:ext cx="3050663" cy="3050663"/>
        </a:xfrm>
        <a:prstGeom prst="pie">
          <a:avLst>
            <a:gd name="adj1" fmla="val 7560000"/>
            <a:gd name="adj2" fmla="val 11880000"/>
          </a:avLst>
        </a:prstGeom>
        <a:solidFill>
          <a:srgbClr val="C8BEA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a:t>Data Privacy</a:t>
          </a:r>
        </a:p>
      </dsp:txBody>
      <dsp:txXfrm>
        <a:off x="1315847" y="1744144"/>
        <a:ext cx="907935" cy="766297"/>
      </dsp:txXfrm>
    </dsp:sp>
    <dsp:sp modelId="{0CCEF46A-AC96-4F5B-8DCF-C81A0241BFEC}">
      <dsp:nvSpPr>
        <dsp:cNvPr id="0" name=""/>
        <dsp:cNvSpPr/>
      </dsp:nvSpPr>
      <dsp:spPr>
        <a:xfrm>
          <a:off x="1170577" y="364082"/>
          <a:ext cx="3050663" cy="3050663"/>
        </a:xfrm>
        <a:prstGeom prst="pie">
          <a:avLst>
            <a:gd name="adj1" fmla="val 11880000"/>
            <a:gd name="adj2" fmla="val 16200000"/>
          </a:avLst>
        </a:prstGeom>
        <a:solidFill>
          <a:srgbClr val="E6284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a:t>Knowledge Management</a:t>
          </a:r>
        </a:p>
      </dsp:txBody>
      <dsp:txXfrm>
        <a:off x="1615466" y="828945"/>
        <a:ext cx="1035046" cy="70818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E44980-3230-4865-A7EF-69BD97CF7932}">
      <dsp:nvSpPr>
        <dsp:cNvPr id="0" name=""/>
        <dsp:cNvSpPr/>
      </dsp:nvSpPr>
      <dsp:spPr>
        <a:xfrm>
          <a:off x="2922" y="821860"/>
          <a:ext cx="1757139" cy="516642"/>
        </a:xfrm>
        <a:prstGeom prst="rect">
          <a:avLst/>
        </a:prstGeom>
        <a:solidFill>
          <a:srgbClr val="4F2D7F"/>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lvl="0" algn="ctr" defTabSz="666750">
            <a:lnSpc>
              <a:spcPct val="90000"/>
            </a:lnSpc>
            <a:spcBef>
              <a:spcPct val="0"/>
            </a:spcBef>
            <a:spcAft>
              <a:spcPct val="35000"/>
            </a:spcAft>
          </a:pPr>
          <a:r>
            <a:rPr lang="en-US" sz="1500" kern="1200" dirty="0">
              <a:solidFill>
                <a:schemeClr val="bg1"/>
              </a:solidFill>
            </a:rPr>
            <a:t>Public</a:t>
          </a:r>
        </a:p>
      </dsp:txBody>
      <dsp:txXfrm>
        <a:off x="2922" y="821860"/>
        <a:ext cx="1757139" cy="516642"/>
      </dsp:txXfrm>
    </dsp:sp>
    <dsp:sp modelId="{0B577BF1-E23C-4CC0-8994-C2110EBD3F88}">
      <dsp:nvSpPr>
        <dsp:cNvPr id="0" name=""/>
        <dsp:cNvSpPr/>
      </dsp:nvSpPr>
      <dsp:spPr>
        <a:xfrm>
          <a:off x="2922" y="1367806"/>
          <a:ext cx="1757139" cy="1874333"/>
        </a:xfrm>
        <a:prstGeom prst="rect">
          <a:avLst/>
        </a:prstGeom>
        <a:solidFill>
          <a:srgbClr val="D0CDD8"/>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Public presentations</a:t>
          </a:r>
        </a:p>
        <a:p>
          <a:pPr marL="114300" lvl="1" indent="-114300" algn="l" defTabSz="666750">
            <a:lnSpc>
              <a:spcPct val="90000"/>
            </a:lnSpc>
            <a:spcBef>
              <a:spcPct val="0"/>
            </a:spcBef>
            <a:spcAft>
              <a:spcPct val="15000"/>
            </a:spcAft>
            <a:buChar char="••"/>
          </a:pPr>
          <a:r>
            <a:rPr lang="en-US" sz="1500" kern="1200"/>
            <a:t>Publicly issued white papers and articles</a:t>
          </a:r>
        </a:p>
        <a:p>
          <a:pPr marL="114300" lvl="1" indent="-114300" algn="l" defTabSz="666750">
            <a:lnSpc>
              <a:spcPct val="90000"/>
            </a:lnSpc>
            <a:spcBef>
              <a:spcPct val="0"/>
            </a:spcBef>
            <a:spcAft>
              <a:spcPct val="15000"/>
            </a:spcAft>
            <a:buChar char="••"/>
          </a:pPr>
          <a:r>
            <a:rPr lang="en-US" sz="1500" kern="1200" dirty="0"/>
            <a:t>Press releases</a:t>
          </a:r>
        </a:p>
        <a:p>
          <a:pPr marL="114300" lvl="1" indent="-114300" algn="l" defTabSz="666750">
            <a:lnSpc>
              <a:spcPct val="90000"/>
            </a:lnSpc>
            <a:spcBef>
              <a:spcPct val="0"/>
            </a:spcBef>
            <a:spcAft>
              <a:spcPct val="15000"/>
            </a:spcAft>
            <a:buChar char="••"/>
          </a:pPr>
          <a:r>
            <a:rPr lang="en-US" sz="1500" kern="1200" dirty="0"/>
            <a:t>Advertisements</a:t>
          </a:r>
        </a:p>
      </dsp:txBody>
      <dsp:txXfrm>
        <a:off x="2922" y="1367806"/>
        <a:ext cx="1757139" cy="1874333"/>
      </dsp:txXfrm>
    </dsp:sp>
    <dsp:sp modelId="{1A240E90-92FA-456F-AF3D-864D8F4DA79E}">
      <dsp:nvSpPr>
        <dsp:cNvPr id="0" name=""/>
        <dsp:cNvSpPr/>
      </dsp:nvSpPr>
      <dsp:spPr>
        <a:xfrm>
          <a:off x="2006060" y="807208"/>
          <a:ext cx="1757139" cy="516642"/>
        </a:xfrm>
        <a:prstGeom prst="rect">
          <a:avLst/>
        </a:prstGeom>
        <a:solidFill>
          <a:srgbClr val="00A7B5"/>
        </a:solidFill>
        <a:ln w="25400" cap="flat" cmpd="sng" algn="ctr">
          <a:solidFill>
            <a:srgbClr val="00A7B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lvl="0" algn="ctr" defTabSz="666750">
            <a:lnSpc>
              <a:spcPct val="90000"/>
            </a:lnSpc>
            <a:spcBef>
              <a:spcPct val="0"/>
            </a:spcBef>
            <a:spcAft>
              <a:spcPct val="35000"/>
            </a:spcAft>
          </a:pPr>
          <a:r>
            <a:rPr lang="en-US" sz="1500" kern="1200" dirty="0">
              <a:solidFill>
                <a:schemeClr val="bg1"/>
              </a:solidFill>
            </a:rPr>
            <a:t>Confidential</a:t>
          </a:r>
          <a:r>
            <a:rPr lang="en-US" sz="1500" kern="1200" dirty="0">
              <a:solidFill>
                <a:schemeClr val="tx1"/>
              </a:solidFill>
            </a:rPr>
            <a:t> </a:t>
          </a:r>
          <a:r>
            <a:rPr lang="en-US" sz="1500" kern="1200" dirty="0">
              <a:solidFill>
                <a:schemeClr val="bg1"/>
              </a:solidFill>
            </a:rPr>
            <a:t>– For Internal Use Only</a:t>
          </a:r>
        </a:p>
      </dsp:txBody>
      <dsp:txXfrm>
        <a:off x="2006060" y="807208"/>
        <a:ext cx="1757139" cy="516642"/>
      </dsp:txXfrm>
    </dsp:sp>
    <dsp:sp modelId="{E24FE938-E256-4532-884C-2D906EA278CF}">
      <dsp:nvSpPr>
        <dsp:cNvPr id="0" name=""/>
        <dsp:cNvSpPr/>
      </dsp:nvSpPr>
      <dsp:spPr>
        <a:xfrm>
          <a:off x="2006060" y="1323850"/>
          <a:ext cx="1757139" cy="1932940"/>
        </a:xfrm>
        <a:prstGeom prst="rect">
          <a:avLst/>
        </a:prstGeom>
        <a:solidFill>
          <a:srgbClr val="D0CDD8">
            <a:alpha val="89804"/>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nternal email announcements</a:t>
          </a:r>
        </a:p>
        <a:p>
          <a:pPr marL="114300" lvl="1" indent="-114300" algn="l" defTabSz="666750">
            <a:lnSpc>
              <a:spcPct val="90000"/>
            </a:lnSpc>
            <a:spcBef>
              <a:spcPct val="0"/>
            </a:spcBef>
            <a:spcAft>
              <a:spcPct val="15000"/>
            </a:spcAft>
            <a:buChar char="••"/>
          </a:pPr>
          <a:r>
            <a:rPr lang="en-US" sz="1500" kern="1200" dirty="0"/>
            <a:t>Position descriptions</a:t>
          </a:r>
        </a:p>
        <a:p>
          <a:pPr marL="114300" lvl="1" indent="-114300" algn="l" defTabSz="666750">
            <a:lnSpc>
              <a:spcPct val="90000"/>
            </a:lnSpc>
            <a:spcBef>
              <a:spcPct val="0"/>
            </a:spcBef>
            <a:spcAft>
              <a:spcPct val="15000"/>
            </a:spcAft>
            <a:buChar char="••"/>
          </a:pPr>
          <a:r>
            <a:rPr lang="en-US" sz="1500" kern="1200" dirty="0"/>
            <a:t>Training presentations and videos</a:t>
          </a:r>
        </a:p>
        <a:p>
          <a:pPr marL="114300" lvl="1" indent="-114300" algn="l" defTabSz="666750">
            <a:lnSpc>
              <a:spcPct val="90000"/>
            </a:lnSpc>
            <a:spcBef>
              <a:spcPct val="0"/>
            </a:spcBef>
            <a:spcAft>
              <a:spcPct val="15000"/>
            </a:spcAft>
            <a:buChar char="••"/>
          </a:pPr>
          <a:r>
            <a:rPr lang="en-US" sz="1500" kern="1200" dirty="0"/>
            <a:t>CEO blog postings</a:t>
          </a:r>
        </a:p>
      </dsp:txBody>
      <dsp:txXfrm>
        <a:off x="2006060" y="1323850"/>
        <a:ext cx="1757139" cy="1932940"/>
      </dsp:txXfrm>
    </dsp:sp>
    <dsp:sp modelId="{74580B55-54FA-450E-80C1-B0B0CE59858E}">
      <dsp:nvSpPr>
        <dsp:cNvPr id="0" name=""/>
        <dsp:cNvSpPr/>
      </dsp:nvSpPr>
      <dsp:spPr>
        <a:xfrm>
          <a:off x="4009199" y="807208"/>
          <a:ext cx="1757139" cy="516642"/>
        </a:xfrm>
        <a:prstGeom prst="rect">
          <a:avLst/>
        </a:prstGeom>
        <a:solidFill>
          <a:srgbClr val="FF7D1E"/>
        </a:solidFill>
        <a:ln w="25400" cap="flat" cmpd="sng" algn="ctr">
          <a:solidFill>
            <a:srgbClr val="FF7D1E"/>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lvl="0" algn="ctr" defTabSz="666750">
            <a:lnSpc>
              <a:spcPct val="90000"/>
            </a:lnSpc>
            <a:spcBef>
              <a:spcPct val="0"/>
            </a:spcBef>
            <a:spcAft>
              <a:spcPct val="35000"/>
            </a:spcAft>
          </a:pPr>
          <a:r>
            <a:rPr lang="en-US" sz="1500" kern="1200" dirty="0">
              <a:solidFill>
                <a:schemeClr val="bg1"/>
              </a:solidFill>
            </a:rPr>
            <a:t>Confidential – Limited Internal Distribution</a:t>
          </a:r>
        </a:p>
      </dsp:txBody>
      <dsp:txXfrm>
        <a:off x="4009199" y="807208"/>
        <a:ext cx="1757139" cy="516642"/>
      </dsp:txXfrm>
    </dsp:sp>
    <dsp:sp modelId="{6AE27FF8-059A-4F55-A15B-0418CDEB2D95}">
      <dsp:nvSpPr>
        <dsp:cNvPr id="0" name=""/>
        <dsp:cNvSpPr/>
      </dsp:nvSpPr>
      <dsp:spPr>
        <a:xfrm>
          <a:off x="4009199" y="1323850"/>
          <a:ext cx="1757139" cy="19329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a:t>Client information (nonpublic)</a:t>
          </a:r>
        </a:p>
        <a:p>
          <a:pPr marL="114300" lvl="1" indent="-114300" algn="l" defTabSz="666750">
            <a:lnSpc>
              <a:spcPct val="90000"/>
            </a:lnSpc>
            <a:spcBef>
              <a:spcPct val="0"/>
            </a:spcBef>
            <a:spcAft>
              <a:spcPct val="15000"/>
            </a:spcAft>
            <a:buChar char="••"/>
          </a:pPr>
          <a:r>
            <a:rPr lang="en-US" sz="1500" kern="1200" dirty="0"/>
            <a:t>Vendor agreements</a:t>
          </a:r>
        </a:p>
        <a:p>
          <a:pPr marL="114300" lvl="1" indent="-114300" algn="l" defTabSz="666750">
            <a:lnSpc>
              <a:spcPct val="90000"/>
            </a:lnSpc>
            <a:spcBef>
              <a:spcPct val="0"/>
            </a:spcBef>
            <a:spcAft>
              <a:spcPct val="15000"/>
            </a:spcAft>
            <a:buChar char="••"/>
          </a:pPr>
          <a:r>
            <a:rPr lang="en-US" sz="1500" kern="1200" dirty="0"/>
            <a:t>Pricing or marketing strategies</a:t>
          </a:r>
        </a:p>
        <a:p>
          <a:pPr marL="114300" lvl="1" indent="-114300" algn="l" defTabSz="666750">
            <a:lnSpc>
              <a:spcPct val="90000"/>
            </a:lnSpc>
            <a:spcBef>
              <a:spcPct val="0"/>
            </a:spcBef>
            <a:spcAft>
              <a:spcPct val="15000"/>
            </a:spcAft>
            <a:buChar char="••"/>
          </a:pPr>
          <a:r>
            <a:rPr lang="en-US" sz="1500" kern="1200" dirty="0"/>
            <a:t>Partnership agreements</a:t>
          </a:r>
        </a:p>
      </dsp:txBody>
      <dsp:txXfrm>
        <a:off x="4009199" y="1323850"/>
        <a:ext cx="1757139" cy="1932940"/>
      </dsp:txXfrm>
    </dsp:sp>
    <dsp:sp modelId="{0CBFAC94-068E-4E86-A3D9-B779AA7CD0F8}">
      <dsp:nvSpPr>
        <dsp:cNvPr id="0" name=""/>
        <dsp:cNvSpPr/>
      </dsp:nvSpPr>
      <dsp:spPr>
        <a:xfrm>
          <a:off x="6012338" y="807208"/>
          <a:ext cx="1757139" cy="516642"/>
        </a:xfrm>
        <a:prstGeom prst="rect">
          <a:avLst/>
        </a:prstGeom>
        <a:solidFill>
          <a:srgbClr val="E62841"/>
        </a:solidFill>
        <a:ln w="25400" cap="flat" cmpd="sng" algn="ctr">
          <a:solidFill>
            <a:srgbClr val="E6284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lvl="0" algn="ctr" defTabSz="666750">
            <a:lnSpc>
              <a:spcPct val="90000"/>
            </a:lnSpc>
            <a:spcBef>
              <a:spcPct val="0"/>
            </a:spcBef>
            <a:spcAft>
              <a:spcPct val="35000"/>
            </a:spcAft>
          </a:pPr>
          <a:r>
            <a:rPr lang="en-US" sz="1500" kern="1200" dirty="0">
              <a:solidFill>
                <a:schemeClr val="bg1"/>
              </a:solidFill>
            </a:rPr>
            <a:t>Highly Confidential</a:t>
          </a:r>
        </a:p>
      </dsp:txBody>
      <dsp:txXfrm>
        <a:off x="6012338" y="807208"/>
        <a:ext cx="1757139" cy="516642"/>
      </dsp:txXfrm>
    </dsp:sp>
    <dsp:sp modelId="{40B10A9E-2690-49AE-B423-EACC5441F9FC}">
      <dsp:nvSpPr>
        <dsp:cNvPr id="0" name=""/>
        <dsp:cNvSpPr/>
      </dsp:nvSpPr>
      <dsp:spPr>
        <a:xfrm>
          <a:off x="6012338" y="1323850"/>
          <a:ext cx="1757139" cy="19329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nsitive personal information</a:t>
          </a:r>
        </a:p>
        <a:p>
          <a:pPr marL="114300" lvl="1" indent="-114300" algn="l" defTabSz="666750">
            <a:lnSpc>
              <a:spcPct val="90000"/>
            </a:lnSpc>
            <a:spcBef>
              <a:spcPct val="0"/>
            </a:spcBef>
            <a:spcAft>
              <a:spcPct val="15000"/>
            </a:spcAft>
            <a:buChar char="••"/>
          </a:pPr>
          <a:r>
            <a:rPr lang="en-US" sz="1500" kern="1200" dirty="0"/>
            <a:t>Merger, acquisition, divestiture or business combination plans</a:t>
          </a:r>
        </a:p>
        <a:p>
          <a:pPr marL="114300" lvl="1" indent="-114300" algn="l" defTabSz="666750">
            <a:lnSpc>
              <a:spcPct val="90000"/>
            </a:lnSpc>
            <a:spcBef>
              <a:spcPct val="0"/>
            </a:spcBef>
            <a:spcAft>
              <a:spcPct val="15000"/>
            </a:spcAft>
            <a:buChar char="••"/>
          </a:pPr>
          <a:r>
            <a:rPr lang="en-US" sz="1500" kern="1200" dirty="0"/>
            <a:t>Firm financial statements</a:t>
          </a:r>
        </a:p>
      </dsp:txBody>
      <dsp:txXfrm>
        <a:off x="6012338" y="1323850"/>
        <a:ext cx="1757139" cy="193294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0"/>
            <a:ext cx="2971800" cy="4648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Times New Roman" pitchFamily="18" charset="0"/>
              </a:defRPr>
            </a:lvl1pPr>
          </a:lstStyle>
          <a:p>
            <a:pPr>
              <a:defRPr/>
            </a:pPr>
            <a:endParaRPr lang="en-US" dirty="0"/>
          </a:p>
        </p:txBody>
      </p:sp>
      <p:sp>
        <p:nvSpPr>
          <p:cNvPr id="37891" name="Rectangle 3"/>
          <p:cNvSpPr>
            <a:spLocks noGrp="1" noChangeArrowheads="1"/>
          </p:cNvSpPr>
          <p:nvPr>
            <p:ph type="dt" sz="quarter" idx="1"/>
          </p:nvPr>
        </p:nvSpPr>
        <p:spPr bwMode="auto">
          <a:xfrm>
            <a:off x="3884613" y="0"/>
            <a:ext cx="2971800" cy="4648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pitchFamily="18" charset="0"/>
              </a:defRPr>
            </a:lvl1pPr>
          </a:lstStyle>
          <a:p>
            <a:pPr>
              <a:defRPr/>
            </a:pPr>
            <a:endParaRPr lang="en-US" dirty="0"/>
          </a:p>
        </p:txBody>
      </p:sp>
      <p:sp>
        <p:nvSpPr>
          <p:cNvPr id="37892" name="Rectangle 4"/>
          <p:cNvSpPr>
            <a:spLocks noGrp="1" noChangeArrowheads="1"/>
          </p:cNvSpPr>
          <p:nvPr>
            <p:ph type="ftr" sz="quarter" idx="2"/>
          </p:nvPr>
        </p:nvSpPr>
        <p:spPr bwMode="auto">
          <a:xfrm>
            <a:off x="0" y="8829967"/>
            <a:ext cx="2971800" cy="46482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Times New Roman" pitchFamily="18" charset="0"/>
              </a:defRPr>
            </a:lvl1pPr>
          </a:lstStyle>
          <a:p>
            <a:pPr>
              <a:defRPr/>
            </a:pPr>
            <a:endParaRPr lang="en-US" dirty="0"/>
          </a:p>
        </p:txBody>
      </p:sp>
      <p:sp>
        <p:nvSpPr>
          <p:cNvPr id="37893" name="Rectangle 5"/>
          <p:cNvSpPr>
            <a:spLocks noGrp="1" noChangeArrowheads="1"/>
          </p:cNvSpPr>
          <p:nvPr>
            <p:ph type="sldNum" sz="quarter" idx="3"/>
          </p:nvPr>
        </p:nvSpPr>
        <p:spPr bwMode="auto">
          <a:xfrm>
            <a:off x="3884613" y="8829967"/>
            <a:ext cx="2971800" cy="46482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Times New Roman" pitchFamily="18" charset="0"/>
              </a:defRPr>
            </a:lvl1pPr>
          </a:lstStyle>
          <a:p>
            <a:pPr>
              <a:defRPr/>
            </a:pPr>
            <a:fld id="{768372C4-2749-46F5-A082-10657467D07E}" type="slidenum">
              <a:rPr lang="en-US"/>
              <a:pPr>
                <a:defRPr/>
              </a:pPr>
              <a:t>‹#›</a:t>
            </a:fld>
            <a:endParaRPr lang="en-US" dirty="0"/>
          </a:p>
        </p:txBody>
      </p:sp>
    </p:spTree>
    <p:extLst>
      <p:ext uri="{BB962C8B-B14F-4D97-AF65-F5344CB8AC3E}">
        <p14:creationId xmlns:p14="http://schemas.microsoft.com/office/powerpoint/2010/main" val="2139009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xfrm>
            <a:off x="0" y="0"/>
            <a:ext cx="2971800" cy="4648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Times New Roman" pitchFamily="18" charset="0"/>
              </a:defRPr>
            </a:lvl1pPr>
          </a:lstStyle>
          <a:p>
            <a:pPr>
              <a:defRPr/>
            </a:pPr>
            <a:endParaRPr lang="en-US" dirty="0"/>
          </a:p>
        </p:txBody>
      </p:sp>
      <p:sp>
        <p:nvSpPr>
          <p:cNvPr id="39939" name="Rectangle 3"/>
          <p:cNvSpPr>
            <a:spLocks noGrp="1" noChangeArrowheads="1"/>
          </p:cNvSpPr>
          <p:nvPr>
            <p:ph type="dt" idx="1"/>
          </p:nvPr>
        </p:nvSpPr>
        <p:spPr bwMode="auto">
          <a:xfrm>
            <a:off x="3884613" y="0"/>
            <a:ext cx="2971800" cy="4648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pitchFamily="18" charset="0"/>
              </a:defRPr>
            </a:lvl1pPr>
          </a:lstStyle>
          <a:p>
            <a:pPr>
              <a:defRPr/>
            </a:pPr>
            <a:endParaRPr lang="en-US" dirty="0"/>
          </a:p>
        </p:txBody>
      </p:sp>
      <p:sp>
        <p:nvSpPr>
          <p:cNvPr id="3076" name="Rectangle 4"/>
          <p:cNvSpPr>
            <a:spLocks noGrp="1" noRot="1" noChangeAspect="1" noChangeArrowheads="1" noTextEdit="1"/>
          </p:cNvSpPr>
          <p:nvPr>
            <p:ph type="sldImg" idx="2"/>
          </p:nvPr>
        </p:nvSpPr>
        <p:spPr bwMode="auto">
          <a:xfrm>
            <a:off x="330200" y="696913"/>
            <a:ext cx="6197600" cy="3486150"/>
          </a:xfrm>
          <a:prstGeom prst="rect">
            <a:avLst/>
          </a:prstGeom>
          <a:noFill/>
          <a:ln w="9525">
            <a:solidFill>
              <a:srgbClr val="000000"/>
            </a:solidFill>
            <a:miter lim="800000"/>
            <a:headEnd/>
            <a:tailEnd/>
          </a:ln>
        </p:spPr>
      </p:sp>
      <p:sp>
        <p:nvSpPr>
          <p:cNvPr id="39941" name="Rectangle 5"/>
          <p:cNvSpPr>
            <a:spLocks noGrp="1" noChangeArrowheads="1"/>
          </p:cNvSpPr>
          <p:nvPr>
            <p:ph type="body" sz="quarter" idx="3"/>
          </p:nvPr>
        </p:nvSpPr>
        <p:spPr bwMode="auto">
          <a:xfrm>
            <a:off x="685800" y="4415790"/>
            <a:ext cx="5486400" cy="418338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9942" name="Rectangle 6"/>
          <p:cNvSpPr>
            <a:spLocks noGrp="1" noChangeArrowheads="1"/>
          </p:cNvSpPr>
          <p:nvPr>
            <p:ph type="ftr" sz="quarter" idx="4"/>
          </p:nvPr>
        </p:nvSpPr>
        <p:spPr bwMode="auto">
          <a:xfrm>
            <a:off x="0" y="8829967"/>
            <a:ext cx="2971800" cy="46482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Times New Roman" pitchFamily="18" charset="0"/>
              </a:defRPr>
            </a:lvl1pPr>
          </a:lstStyle>
          <a:p>
            <a:pPr>
              <a:defRPr/>
            </a:pPr>
            <a:endParaRPr lang="en-US" dirty="0"/>
          </a:p>
        </p:txBody>
      </p:sp>
      <p:sp>
        <p:nvSpPr>
          <p:cNvPr id="39943" name="Rectangle 7"/>
          <p:cNvSpPr>
            <a:spLocks noGrp="1" noChangeArrowheads="1"/>
          </p:cNvSpPr>
          <p:nvPr>
            <p:ph type="sldNum" sz="quarter" idx="5"/>
          </p:nvPr>
        </p:nvSpPr>
        <p:spPr bwMode="auto">
          <a:xfrm>
            <a:off x="3884613" y="8829967"/>
            <a:ext cx="2971800" cy="46482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Times New Roman" pitchFamily="18" charset="0"/>
              </a:defRPr>
            </a:lvl1pPr>
          </a:lstStyle>
          <a:p>
            <a:pPr>
              <a:defRPr/>
            </a:pPr>
            <a:fld id="{772E25AE-7BE6-49D0-BDEF-32EA38243953}" type="slidenum">
              <a:rPr lang="en-US"/>
              <a:pPr>
                <a:defRPr/>
              </a:pPr>
              <a:t>‹#›</a:t>
            </a:fld>
            <a:endParaRPr lang="en-US" dirty="0"/>
          </a:p>
        </p:txBody>
      </p:sp>
    </p:spTree>
    <p:extLst>
      <p:ext uri="{BB962C8B-B14F-4D97-AF65-F5344CB8AC3E}">
        <p14:creationId xmlns:p14="http://schemas.microsoft.com/office/powerpoint/2010/main" val="25510876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nd curved photo">
    <p:spTree>
      <p:nvGrpSpPr>
        <p:cNvPr id="1" name=""/>
        <p:cNvGrpSpPr/>
        <p:nvPr/>
      </p:nvGrpSpPr>
      <p:grpSpPr>
        <a:xfrm>
          <a:off x="0" y="0"/>
          <a:ext cx="0" cy="0"/>
          <a:chOff x="0" y="0"/>
          <a:chExt cx="0" cy="0"/>
        </a:xfrm>
      </p:grpSpPr>
      <p:pic>
        <p:nvPicPr>
          <p:cNvPr id="12"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361950"/>
            <a:ext cx="2133690" cy="456598"/>
          </a:xfrm>
          <a:prstGeom prst="rect">
            <a:avLst/>
          </a:prstGeom>
        </p:spPr>
      </p:pic>
      <p:sp>
        <p:nvSpPr>
          <p:cNvPr id="8" name="Rectangle 7"/>
          <p:cNvSpPr/>
          <p:nvPr userDrawn="1"/>
        </p:nvSpPr>
        <p:spPr>
          <a:xfrm>
            <a:off x="9220200" y="0"/>
            <a:ext cx="1466850" cy="5143500"/>
          </a:xfrm>
          <a:prstGeom prst="rect">
            <a:avLst/>
          </a:prstGeom>
          <a:solidFill>
            <a:srgbClr val="C8BEA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latin typeface="Arial" panose="020B0604020202020204" pitchFamily="34" charset="0"/>
                <a:cs typeface="Arial" panose="020B0604020202020204" pitchFamily="34" charset="0"/>
              </a:rPr>
              <a:t>To insert </a:t>
            </a:r>
            <a:r>
              <a:rPr lang="en-GB" sz="1400" baseline="0" dirty="0">
                <a:latin typeface="Arial" panose="020B0604020202020204" pitchFamily="34" charset="0"/>
                <a:cs typeface="Arial" panose="020B0604020202020204" pitchFamily="34" charset="0"/>
              </a:rPr>
              <a:t>image into frame click on the image frame and select image.</a:t>
            </a:r>
          </a:p>
          <a:p>
            <a:pPr algn="ctr"/>
            <a:r>
              <a:rPr lang="en-GB" sz="1400" baseline="0" dirty="0">
                <a:latin typeface="Arial" panose="020B0604020202020204" pitchFamily="34" charset="0"/>
                <a:cs typeface="Arial" panose="020B0604020202020204" pitchFamily="34" charset="0"/>
              </a:rPr>
              <a:t>To scale , crop and move the image, right click and choose the crop tool. You can now scale and move the image to the desired position.</a:t>
            </a:r>
            <a:endParaRPr lang="en-GB" sz="1400" dirty="0">
              <a:latin typeface="Arial" panose="020B0604020202020204" pitchFamily="34" charset="0"/>
              <a:cs typeface="Arial" panose="020B0604020202020204" pitchFamily="34" charset="0"/>
            </a:endParaRPr>
          </a:p>
        </p:txBody>
      </p:sp>
      <p:sp>
        <p:nvSpPr>
          <p:cNvPr id="13" name="Picture Placeholder 14"/>
          <p:cNvSpPr>
            <a:spLocks noGrp="1"/>
          </p:cNvSpPr>
          <p:nvPr>
            <p:ph type="pic" sz="quarter" idx="12" hasCustomPrompt="1"/>
          </p:nvPr>
        </p:nvSpPr>
        <p:spPr>
          <a:xfrm>
            <a:off x="4500563" y="1203325"/>
            <a:ext cx="4643438" cy="3940175"/>
          </a:xfrm>
          <a:custGeom>
            <a:avLst/>
            <a:gdLst>
              <a:gd name="connsiteX0" fmla="*/ 0 w 5751512"/>
              <a:gd name="connsiteY0" fmla="*/ 0 h 3946525"/>
              <a:gd name="connsiteX1" fmla="*/ 5751512 w 5751512"/>
              <a:gd name="connsiteY1" fmla="*/ 0 h 3946525"/>
              <a:gd name="connsiteX2" fmla="*/ 5751512 w 5751512"/>
              <a:gd name="connsiteY2" fmla="*/ 3946525 h 3946525"/>
              <a:gd name="connsiteX3" fmla="*/ 0 w 5751512"/>
              <a:gd name="connsiteY3" fmla="*/ 3946525 h 3946525"/>
              <a:gd name="connsiteX4" fmla="*/ 0 w 5751512"/>
              <a:gd name="connsiteY4" fmla="*/ 0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185476 w 5898059"/>
              <a:gd name="connsiteY0" fmla="*/ 145143 h 3946525"/>
              <a:gd name="connsiteX1" fmla="*/ 5898059 w 5898059"/>
              <a:gd name="connsiteY1" fmla="*/ 0 h 3946525"/>
              <a:gd name="connsiteX2" fmla="*/ 5898059 w 5898059"/>
              <a:gd name="connsiteY2" fmla="*/ 3946525 h 3946525"/>
              <a:gd name="connsiteX3" fmla="*/ 146547 w 5898059"/>
              <a:gd name="connsiteY3" fmla="*/ 3946525 h 3946525"/>
              <a:gd name="connsiteX4" fmla="*/ 3185476 w 5898059"/>
              <a:gd name="connsiteY4" fmla="*/ 145143 h 3946525"/>
              <a:gd name="connsiteX0" fmla="*/ 4670912 w 5779285"/>
              <a:gd name="connsiteY0" fmla="*/ 53092 h 3946525"/>
              <a:gd name="connsiteX1" fmla="*/ 5779285 w 5779285"/>
              <a:gd name="connsiteY1" fmla="*/ 0 h 3946525"/>
              <a:gd name="connsiteX2" fmla="*/ 5779285 w 5779285"/>
              <a:gd name="connsiteY2" fmla="*/ 3946525 h 3946525"/>
              <a:gd name="connsiteX3" fmla="*/ 27773 w 5779285"/>
              <a:gd name="connsiteY3" fmla="*/ 3946525 h 3946525"/>
              <a:gd name="connsiteX4" fmla="*/ 4670912 w 5779285"/>
              <a:gd name="connsiteY4" fmla="*/ 53092 h 3946525"/>
              <a:gd name="connsiteX0" fmla="*/ 4661785 w 5770158"/>
              <a:gd name="connsiteY0" fmla="*/ 53092 h 3946525"/>
              <a:gd name="connsiteX1" fmla="*/ 5770158 w 5770158"/>
              <a:gd name="connsiteY1" fmla="*/ 0 h 3946525"/>
              <a:gd name="connsiteX2" fmla="*/ 5770158 w 5770158"/>
              <a:gd name="connsiteY2" fmla="*/ 3946525 h 3946525"/>
              <a:gd name="connsiteX3" fmla="*/ 18646 w 5770158"/>
              <a:gd name="connsiteY3" fmla="*/ 3946525 h 3946525"/>
              <a:gd name="connsiteX4" fmla="*/ 4661785 w 5770158"/>
              <a:gd name="connsiteY4" fmla="*/ 53092 h 3946525"/>
              <a:gd name="connsiteX0" fmla="*/ 4357352 w 5465725"/>
              <a:gd name="connsiteY0" fmla="*/ 53092 h 3946525"/>
              <a:gd name="connsiteX1" fmla="*/ 5465725 w 5465725"/>
              <a:gd name="connsiteY1" fmla="*/ 0 h 3946525"/>
              <a:gd name="connsiteX2" fmla="*/ 5465725 w 5465725"/>
              <a:gd name="connsiteY2" fmla="*/ 3946525 h 3946525"/>
              <a:gd name="connsiteX3" fmla="*/ 21686 w 5465725"/>
              <a:gd name="connsiteY3" fmla="*/ 3936297 h 3946525"/>
              <a:gd name="connsiteX4" fmla="*/ 4357352 w 5465725"/>
              <a:gd name="connsiteY4" fmla="*/ 53092 h 3946525"/>
              <a:gd name="connsiteX0" fmla="*/ 4337247 w 5445620"/>
              <a:gd name="connsiteY0" fmla="*/ 53092 h 3946525"/>
              <a:gd name="connsiteX1" fmla="*/ 5445620 w 5445620"/>
              <a:gd name="connsiteY1" fmla="*/ 0 h 3946525"/>
              <a:gd name="connsiteX2" fmla="*/ 5445620 w 5445620"/>
              <a:gd name="connsiteY2" fmla="*/ 3946525 h 3946525"/>
              <a:gd name="connsiteX3" fmla="*/ 1581 w 5445620"/>
              <a:gd name="connsiteY3" fmla="*/ 3936297 h 3946525"/>
              <a:gd name="connsiteX4" fmla="*/ 4337247 w 5445620"/>
              <a:gd name="connsiteY4" fmla="*/ 53092 h 3946525"/>
              <a:gd name="connsiteX0" fmla="*/ 5432791 w 5444953"/>
              <a:gd name="connsiteY0" fmla="*/ 12179 h 3946525"/>
              <a:gd name="connsiteX1" fmla="*/ 5444953 w 5444953"/>
              <a:gd name="connsiteY1" fmla="*/ 0 h 3946525"/>
              <a:gd name="connsiteX2" fmla="*/ 5444953 w 5444953"/>
              <a:gd name="connsiteY2" fmla="*/ 3946525 h 3946525"/>
              <a:gd name="connsiteX3" fmla="*/ 914 w 5444953"/>
              <a:gd name="connsiteY3" fmla="*/ 3936297 h 3946525"/>
              <a:gd name="connsiteX4" fmla="*/ 5432791 w 5444953"/>
              <a:gd name="connsiteY4" fmla="*/ 12179 h 3946525"/>
              <a:gd name="connsiteX0" fmla="*/ 5433450 w 5445612"/>
              <a:gd name="connsiteY0" fmla="*/ 12179 h 3946525"/>
              <a:gd name="connsiteX1" fmla="*/ 5445612 w 5445612"/>
              <a:gd name="connsiteY1" fmla="*/ 0 h 3946525"/>
              <a:gd name="connsiteX2" fmla="*/ 5445612 w 5445612"/>
              <a:gd name="connsiteY2" fmla="*/ 3946525 h 3946525"/>
              <a:gd name="connsiteX3" fmla="*/ 1573 w 5445612"/>
              <a:gd name="connsiteY3" fmla="*/ 3936297 h 3946525"/>
              <a:gd name="connsiteX4" fmla="*/ 5433450 w 5445612"/>
              <a:gd name="connsiteY4" fmla="*/ 12179 h 3946525"/>
              <a:gd name="connsiteX0" fmla="*/ 5380034 w 5392196"/>
              <a:gd name="connsiteY0" fmla="*/ 12179 h 3946525"/>
              <a:gd name="connsiteX1" fmla="*/ 5392196 w 5392196"/>
              <a:gd name="connsiteY1" fmla="*/ 0 h 3946525"/>
              <a:gd name="connsiteX2" fmla="*/ 5392196 w 5392196"/>
              <a:gd name="connsiteY2" fmla="*/ 3946525 h 3946525"/>
              <a:gd name="connsiteX3" fmla="*/ 1631 w 5392196"/>
              <a:gd name="connsiteY3" fmla="*/ 3721509 h 3946525"/>
              <a:gd name="connsiteX4" fmla="*/ 5380034 w 5392196"/>
              <a:gd name="connsiteY4" fmla="*/ 12179 h 3946525"/>
              <a:gd name="connsiteX0" fmla="*/ 5420095 w 5432257"/>
              <a:gd name="connsiteY0" fmla="*/ 12179 h 3946525"/>
              <a:gd name="connsiteX1" fmla="*/ 5432257 w 5432257"/>
              <a:gd name="connsiteY1" fmla="*/ 0 h 3946525"/>
              <a:gd name="connsiteX2" fmla="*/ 5432257 w 5432257"/>
              <a:gd name="connsiteY2" fmla="*/ 3946525 h 3946525"/>
              <a:gd name="connsiteX3" fmla="*/ 1587 w 5432257"/>
              <a:gd name="connsiteY3" fmla="*/ 3946525 h 3946525"/>
              <a:gd name="connsiteX4" fmla="*/ 5420095 w 5432257"/>
              <a:gd name="connsiteY4" fmla="*/ 12179 h 394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2257" h="3946525">
                <a:moveTo>
                  <a:pt x="5420095" y="12179"/>
                </a:moveTo>
                <a:lnTo>
                  <a:pt x="5432257" y="0"/>
                </a:lnTo>
                <a:lnTo>
                  <a:pt x="5432257" y="3946525"/>
                </a:lnTo>
                <a:lnTo>
                  <a:pt x="1587" y="3946525"/>
                </a:lnTo>
                <a:cubicBezTo>
                  <a:pt x="-54433" y="2778027"/>
                  <a:pt x="1365326" y="84261"/>
                  <a:pt x="5420095" y="12179"/>
                </a:cubicBezTo>
                <a:close/>
              </a:path>
            </a:pathLst>
          </a:custGeom>
        </p:spPr>
        <p:txBody>
          <a:bodyPr vert="horz"/>
          <a:lstStyle>
            <a:lvl1pPr marL="0" indent="0" algn="r">
              <a:buNone/>
              <a:defRPr sz="1300">
                <a:solidFill>
                  <a:srgbClr val="00A7B5"/>
                </a:solidFill>
              </a:defRPr>
            </a:lvl1pPr>
          </a:lstStyle>
          <a:p>
            <a:r>
              <a:rPr lang="en-US" dirty="0"/>
              <a:t>Click icon to add photo</a:t>
            </a:r>
          </a:p>
        </p:txBody>
      </p:sp>
      <p:cxnSp>
        <p:nvCxnSpPr>
          <p:cNvPr id="17" name="Straight Connector 16"/>
          <p:cNvCxnSpPr/>
          <p:nvPr userDrawn="1"/>
        </p:nvCxnSpPr>
        <p:spPr>
          <a:xfrm>
            <a:off x="476251" y="3252955"/>
            <a:ext cx="1562099" cy="0"/>
          </a:xfrm>
          <a:prstGeom prst="line">
            <a:avLst/>
          </a:prstGeom>
          <a:ln w="28575" cap="rnd">
            <a:solidFill>
              <a:srgbClr val="4F2D7F"/>
            </a:solidFill>
          </a:ln>
        </p:spPr>
        <p:style>
          <a:lnRef idx="1">
            <a:schemeClr val="accent1"/>
          </a:lnRef>
          <a:fillRef idx="0">
            <a:schemeClr val="accent1"/>
          </a:fillRef>
          <a:effectRef idx="0">
            <a:schemeClr val="accent1"/>
          </a:effectRef>
          <a:fontRef idx="minor">
            <a:schemeClr val="tx1"/>
          </a:fontRef>
        </p:style>
      </p:cxnSp>
      <p:sp>
        <p:nvSpPr>
          <p:cNvPr id="18" name="Title Placeholder"/>
          <p:cNvSpPr>
            <a:spLocks noGrp="1" noChangeArrowheads="1"/>
          </p:cNvSpPr>
          <p:nvPr>
            <p:ph type="ctrTitle" sz="quarter"/>
          </p:nvPr>
        </p:nvSpPr>
        <p:spPr>
          <a:xfrm>
            <a:off x="457200" y="1473361"/>
            <a:ext cx="5448300" cy="1116967"/>
          </a:xfrm>
        </p:spPr>
        <p:txBody>
          <a:bodyPr anchor="b"/>
          <a:lstStyle>
            <a:lvl1pPr>
              <a:defRPr sz="3600">
                <a:solidFill>
                  <a:srgbClr val="4F2D7F"/>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9" name="Text Placeholder 10"/>
          <p:cNvSpPr>
            <a:spLocks noGrp="1"/>
          </p:cNvSpPr>
          <p:nvPr>
            <p:ph type="body" sz="quarter" idx="10" hasCustomPrompt="1"/>
          </p:nvPr>
        </p:nvSpPr>
        <p:spPr>
          <a:xfrm>
            <a:off x="457200" y="2590328"/>
            <a:ext cx="5448300" cy="266548"/>
          </a:xfrm>
        </p:spPr>
        <p:txBody>
          <a:bodyPr anchor="b"/>
          <a:lstStyle>
            <a:lvl1pPr marL="0" indent="0">
              <a:buNone/>
              <a:defRPr sz="1800" b="0" i="0">
                <a:latin typeface="Arial" panose="020B0604020202020204" pitchFamily="34" charset="0"/>
                <a:ea typeface="Arial" panose="020B0604020202020204" pitchFamily="34" charset="0"/>
                <a:cs typeface="Arial" panose="020B0604020202020204" pitchFamily="34" charset="0"/>
              </a:defRPr>
            </a:lvl1pPr>
          </a:lstStyle>
          <a:p>
            <a:pPr lvl="0"/>
            <a:r>
              <a:rPr lang="en-US" dirty="0"/>
              <a:t>Secondary header here</a:t>
            </a:r>
          </a:p>
        </p:txBody>
      </p:sp>
      <p:sp>
        <p:nvSpPr>
          <p:cNvPr id="20" name="Content Placeholder 12"/>
          <p:cNvSpPr>
            <a:spLocks noGrp="1"/>
          </p:cNvSpPr>
          <p:nvPr>
            <p:ph sz="quarter" idx="11" hasCustomPrompt="1"/>
          </p:nvPr>
        </p:nvSpPr>
        <p:spPr>
          <a:xfrm>
            <a:off x="457200" y="3346666"/>
            <a:ext cx="3882571" cy="508907"/>
          </a:xfrm>
        </p:spPr>
        <p:txBody>
          <a:bodyPr/>
          <a:lstStyle>
            <a:lvl1pPr marL="0" indent="0">
              <a:buNone/>
              <a:defRPr sz="13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DATE TO GO HERE</a:t>
            </a:r>
          </a:p>
        </p:txBody>
      </p:sp>
    </p:spTree>
    <p:extLst>
      <p:ext uri="{BB962C8B-B14F-4D97-AF65-F5344CB8AC3E}">
        <p14:creationId xmlns:p14="http://schemas.microsoft.com/office/powerpoint/2010/main" val="6975375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0">
                <a:solidFill>
                  <a:srgbClr val="4F2D7F"/>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285750" marR="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sz="1800" b="0" i="0">
                <a:solidFill>
                  <a:schemeClr val="tx1">
                    <a:lumMod val="50000"/>
                  </a:schemeClr>
                </a:solidFill>
                <a:latin typeface="Arial" panose="020B0604020202020204" pitchFamily="34" charset="0"/>
                <a:ea typeface="Arial" panose="020B0604020202020204" pitchFamily="34" charset="0"/>
                <a:cs typeface="Arial" panose="020B0604020202020204" pitchFamily="34" charset="0"/>
              </a:defRPr>
            </a:lvl1pPr>
            <a:lvl2pPr marL="742950" marR="0" indent="-285750" algn="l" defTabSz="914400" rtl="0" eaLnBrk="1" fontAlgn="base" latinLnBrk="0" hangingPunct="1">
              <a:lnSpc>
                <a:spcPct val="100000"/>
              </a:lnSpc>
              <a:spcBef>
                <a:spcPct val="20000"/>
              </a:spcBef>
              <a:spcAft>
                <a:spcPct val="0"/>
              </a:spcAft>
              <a:buClrTx/>
              <a:buSzTx/>
              <a:buFont typeface="Arial"/>
              <a:buChar char="•"/>
              <a:tabLst/>
              <a:defRPr sz="1800" b="0" i="0">
                <a:solidFill>
                  <a:schemeClr val="tx1">
                    <a:lumMod val="50000"/>
                  </a:schemeClr>
                </a:solidFill>
                <a:latin typeface="Arial" panose="020B0604020202020204" pitchFamily="34" charset="0"/>
                <a:ea typeface="Arial" panose="020B0604020202020204" pitchFamily="34" charset="0"/>
                <a:cs typeface="Arial" panose="020B0604020202020204" pitchFamily="34" charset="0"/>
              </a:defRPr>
            </a:lvl2pPr>
            <a:lvl3pPr marL="1200150" marR="0" indent="-285750" algn="l" defTabSz="914400" rtl="0" eaLnBrk="1" fontAlgn="base" latinLnBrk="0" hangingPunct="1">
              <a:lnSpc>
                <a:spcPct val="100000"/>
              </a:lnSpc>
              <a:spcBef>
                <a:spcPct val="20000"/>
              </a:spcBef>
              <a:spcAft>
                <a:spcPct val="0"/>
              </a:spcAft>
              <a:buClrTx/>
              <a:buSzTx/>
              <a:buFont typeface="Arial"/>
              <a:buChar char="•"/>
              <a:tabLst/>
              <a:defRPr sz="1800" b="0" i="0">
                <a:solidFill>
                  <a:schemeClr val="tx1">
                    <a:lumMod val="50000"/>
                  </a:schemeClr>
                </a:solidFill>
                <a:latin typeface="Arial" panose="020B0604020202020204" pitchFamily="34" charset="0"/>
                <a:ea typeface="Arial" panose="020B0604020202020204" pitchFamily="34" charset="0"/>
                <a:cs typeface="Arial" panose="020B0604020202020204" pitchFamily="34" charset="0"/>
              </a:defRPr>
            </a:lvl3pPr>
            <a:lvl4pPr marL="1657350" marR="0" indent="-285750" algn="l" defTabSz="914400" rtl="0" eaLnBrk="1" fontAlgn="base" latinLnBrk="0" hangingPunct="1">
              <a:lnSpc>
                <a:spcPct val="100000"/>
              </a:lnSpc>
              <a:spcBef>
                <a:spcPct val="20000"/>
              </a:spcBef>
              <a:spcAft>
                <a:spcPct val="0"/>
              </a:spcAft>
              <a:buClrTx/>
              <a:buSzTx/>
              <a:buFont typeface="Arial"/>
              <a:buChar char="•"/>
              <a:tabLst/>
              <a:defRPr sz="1350" b="0" i="0">
                <a:solidFill>
                  <a:schemeClr val="tx1">
                    <a:lumMod val="50000"/>
                  </a:schemeClr>
                </a:solidFill>
                <a:latin typeface="Arial" panose="020B0604020202020204" pitchFamily="34" charset="0"/>
                <a:ea typeface="Arial" panose="020B0604020202020204" pitchFamily="34" charset="0"/>
                <a:cs typeface="Arial" panose="020B0604020202020204" pitchFamily="34" charset="0"/>
              </a:defRPr>
            </a:lvl4pPr>
            <a:lvl5pPr marL="2114550" marR="0" indent="-285750" algn="l" defTabSz="914400" rtl="0" eaLnBrk="1" fontAlgn="base" latinLnBrk="0" hangingPunct="1">
              <a:lnSpc>
                <a:spcPct val="100000"/>
              </a:lnSpc>
              <a:spcBef>
                <a:spcPct val="20000"/>
              </a:spcBef>
              <a:spcAft>
                <a:spcPct val="0"/>
              </a:spcAft>
              <a:buClrTx/>
              <a:buSzTx/>
              <a:buFont typeface="Arial"/>
              <a:buChar char="•"/>
              <a:tabLst/>
              <a:defRPr sz="900" b="0" i="0">
                <a:solidFill>
                  <a:schemeClr val="tx1">
                    <a:lumMod val="50000"/>
                  </a:schemeClr>
                </a:solidFill>
                <a:latin typeface="Arial" panose="020B0604020202020204" pitchFamily="34" charset="0"/>
                <a:ea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4701884"/>
            <a:ext cx="1663085" cy="355891"/>
          </a:xfrm>
          <a:prstGeom prst="rect">
            <a:avLst/>
          </a:prstGeom>
        </p:spPr>
      </p:pic>
      <p:cxnSp>
        <p:nvCxnSpPr>
          <p:cNvPr id="9" name="Straight Connector 8"/>
          <p:cNvCxnSpPr/>
          <p:nvPr userDrawn="1"/>
        </p:nvCxnSpPr>
        <p:spPr>
          <a:xfrm>
            <a:off x="476251" y="4614196"/>
            <a:ext cx="1562099" cy="0"/>
          </a:xfrm>
          <a:prstGeom prst="line">
            <a:avLst/>
          </a:prstGeom>
          <a:ln w="19050" cap="rnd">
            <a:solidFill>
              <a:srgbClr val="471E82"/>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A5CB563E-18CC-43AA-B35A-A1AE99C72EAA}"/>
              </a:ext>
            </a:extLst>
          </p:cNvPr>
          <p:cNvSpPr>
            <a:spLocks noGrp="1"/>
          </p:cNvSpPr>
          <p:nvPr>
            <p:ph type="sldNum" sz="quarter" idx="4"/>
          </p:nvPr>
        </p:nvSpPr>
        <p:spPr>
          <a:xfrm>
            <a:off x="8430768" y="4837176"/>
            <a:ext cx="365760" cy="201168"/>
          </a:xfrm>
          <a:prstGeom prst="rect">
            <a:avLst/>
          </a:prstGeom>
        </p:spPr>
        <p:txBody>
          <a:bodyPr anchor="b" anchorCtr="0"/>
          <a:lstStyle>
            <a:lvl1pPr algn="r">
              <a:defRPr sz="700"/>
            </a:lvl1pPr>
          </a:lstStyle>
          <a:p>
            <a:fld id="{0E0C512C-2A69-4D15-9349-877CDA6B8ABD}" type="slidenum">
              <a:rPr lang="en-GB" smtClean="0"/>
              <a:pPr/>
              <a:t>‹#›</a:t>
            </a:fld>
            <a:endParaRPr lang="en-GB" dirty="0"/>
          </a:p>
        </p:txBody>
      </p:sp>
      <p:sp>
        <p:nvSpPr>
          <p:cNvPr id="12" name="Copyright_GT">
            <a:extLst>
              <a:ext uri="{FF2B5EF4-FFF2-40B4-BE49-F238E27FC236}">
                <a16:creationId xmlns:a16="http://schemas.microsoft.com/office/drawing/2014/main" id="{53248B49-9F0A-473B-A215-C31BF348B665}"/>
              </a:ext>
            </a:extLst>
          </p:cNvPr>
          <p:cNvSpPr txBox="1">
            <a:spLocks noChangeArrowheads="1"/>
          </p:cNvSpPr>
          <p:nvPr userDrawn="1"/>
        </p:nvSpPr>
        <p:spPr bwMode="auto">
          <a:xfrm>
            <a:off x="4517065" y="4901072"/>
            <a:ext cx="3971299" cy="205184"/>
          </a:xfrm>
          <a:prstGeom prst="rect">
            <a:avLst/>
          </a:prstGeom>
          <a:noFill/>
          <a:ln w="9525">
            <a:noFill/>
            <a:miter lim="800000"/>
            <a:headEnd/>
            <a:tailEnd/>
          </a:ln>
          <a:effectLst/>
        </p:spPr>
        <p:txBody>
          <a:bodyPr wrap="square" lIns="0" tIns="0" rIns="0" bIns="0" anchor="ctr">
            <a:spAutoFit/>
          </a:bodyPr>
          <a:lstStyle/>
          <a:p>
            <a:pPr algn="r" rtl="0"/>
            <a:r>
              <a:rPr lang="en-US" sz="500" b="0" i="0" u="none" strike="noStrike" baseline="0" smtClean="0">
                <a:solidFill>
                  <a:srgbClr val="000000"/>
                </a:solidFill>
                <a:latin typeface="Arial" panose="020B0604020202020204" pitchFamily="34" charset="0"/>
                <a:cs typeface="Arial" panose="020B0604020202020204" pitchFamily="34" charset="0"/>
              </a:rPr>
              <a:t>© 2017 Grant Thornton LLP  |  All rights reserved  | U.S. member firm of Grant Thornton International Ltd</a:t>
            </a:r>
          </a:p>
          <a:p>
            <a:pPr algn="r" rtl="0"/>
            <a:endParaRPr lang="en-US" sz="500" b="0" i="0" u="none" strike="noStrike" baseline="0" smtClean="0">
              <a:solidFill>
                <a:srgbClr val="000000"/>
              </a:solidFill>
              <a:latin typeface="Arial" panose="020B0604020202020204" pitchFamily="34" charset="0"/>
              <a:cs typeface="Arial" panose="020B0604020202020204" pitchFamily="34" charset="0"/>
            </a:endParaRPr>
          </a:p>
          <a:p>
            <a:pPr algn="r" rtl="0"/>
            <a:endParaRPr lang="en-US" sz="500" b="0" i="0" u="none" strike="noStrike" kern="1200" baseline="30000" dirty="0">
              <a:solidFill>
                <a:srgbClr val="000000"/>
              </a:solidFill>
              <a:latin typeface="Arial" panose="020B0604020202020204" pitchFamily="34" charset="0"/>
              <a:ea typeface="+mn-ea"/>
              <a:cs typeface="Arial" panose="020B0604020202020204" pitchFamily="34" charset="0"/>
            </a:endParaRPr>
          </a:p>
        </p:txBody>
      </p:sp>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4F2D7F"/>
                </a:solidFill>
              </a:defRPr>
            </a:lvl1pPr>
          </a:lstStyle>
          <a:p>
            <a:r>
              <a:rPr lang="en-US"/>
              <a:t>Click to edit Master title style</a:t>
            </a:r>
          </a:p>
        </p:txBody>
      </p:sp>
      <p:sp>
        <p:nvSpPr>
          <p:cNvPr id="10" name="Content Placeholder 2"/>
          <p:cNvSpPr>
            <a:spLocks noGrp="1"/>
          </p:cNvSpPr>
          <p:nvPr>
            <p:ph sz="half" idx="10"/>
          </p:nvPr>
        </p:nvSpPr>
        <p:spPr>
          <a:xfrm>
            <a:off x="455136" y="1427401"/>
            <a:ext cx="4068604" cy="2818209"/>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half" idx="2"/>
          </p:nvPr>
        </p:nvSpPr>
        <p:spPr>
          <a:xfrm>
            <a:off x="4657725" y="1427401"/>
            <a:ext cx="4029075" cy="2818209"/>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3"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4701884"/>
            <a:ext cx="1663085" cy="355891"/>
          </a:xfrm>
          <a:prstGeom prst="rect">
            <a:avLst/>
          </a:prstGeom>
        </p:spPr>
      </p:pic>
      <p:cxnSp>
        <p:nvCxnSpPr>
          <p:cNvPr id="14" name="Straight Connector 13"/>
          <p:cNvCxnSpPr/>
          <p:nvPr userDrawn="1"/>
        </p:nvCxnSpPr>
        <p:spPr>
          <a:xfrm>
            <a:off x="476251" y="4614196"/>
            <a:ext cx="1562099" cy="0"/>
          </a:xfrm>
          <a:prstGeom prst="line">
            <a:avLst/>
          </a:prstGeom>
          <a:ln w="19050" cap="rnd">
            <a:solidFill>
              <a:srgbClr val="471E82"/>
            </a:solidFill>
          </a:ln>
        </p:spPr>
        <p:style>
          <a:lnRef idx="1">
            <a:schemeClr val="accent1"/>
          </a:lnRef>
          <a:fillRef idx="0">
            <a:schemeClr val="accent1"/>
          </a:fillRef>
          <a:effectRef idx="0">
            <a:schemeClr val="accent1"/>
          </a:effectRef>
          <a:fontRef idx="minor">
            <a:schemeClr val="tx1"/>
          </a:fontRef>
        </p:style>
      </p:cxnSp>
      <p:sp>
        <p:nvSpPr>
          <p:cNvPr id="12" name="Slide Number Placeholder 3">
            <a:extLst>
              <a:ext uri="{FF2B5EF4-FFF2-40B4-BE49-F238E27FC236}">
                <a16:creationId xmlns:a16="http://schemas.microsoft.com/office/drawing/2014/main" id="{6B14EF95-496B-4C25-85E8-5A8F06F2A5ED}"/>
              </a:ext>
            </a:extLst>
          </p:cNvPr>
          <p:cNvSpPr>
            <a:spLocks noGrp="1"/>
          </p:cNvSpPr>
          <p:nvPr>
            <p:ph type="sldNum" sz="quarter" idx="4"/>
          </p:nvPr>
        </p:nvSpPr>
        <p:spPr>
          <a:xfrm>
            <a:off x="8430768" y="4837176"/>
            <a:ext cx="365760" cy="201168"/>
          </a:xfrm>
          <a:prstGeom prst="rect">
            <a:avLst/>
          </a:prstGeom>
        </p:spPr>
        <p:txBody>
          <a:bodyPr anchor="b" anchorCtr="0"/>
          <a:lstStyle>
            <a:lvl1pPr algn="r">
              <a:defRPr sz="700"/>
            </a:lvl1pPr>
          </a:lstStyle>
          <a:p>
            <a:fld id="{0E0C512C-2A69-4D15-9349-877CDA6B8ABD}" type="slidenum">
              <a:rPr lang="en-GB" smtClean="0"/>
              <a:pPr/>
              <a:t>‹#›</a:t>
            </a:fld>
            <a:endParaRPr lang="en-GB" dirty="0"/>
          </a:p>
        </p:txBody>
      </p:sp>
      <p:sp>
        <p:nvSpPr>
          <p:cNvPr id="15" name="Copyright_GT">
            <a:extLst>
              <a:ext uri="{FF2B5EF4-FFF2-40B4-BE49-F238E27FC236}">
                <a16:creationId xmlns:a16="http://schemas.microsoft.com/office/drawing/2014/main" id="{7BAD5624-60F5-43FD-AC57-7F50F8559B72}"/>
              </a:ext>
            </a:extLst>
          </p:cNvPr>
          <p:cNvSpPr txBox="1">
            <a:spLocks noChangeArrowheads="1"/>
          </p:cNvSpPr>
          <p:nvPr userDrawn="1"/>
        </p:nvSpPr>
        <p:spPr bwMode="auto">
          <a:xfrm>
            <a:off x="4517065" y="4901072"/>
            <a:ext cx="3971299" cy="205184"/>
          </a:xfrm>
          <a:prstGeom prst="rect">
            <a:avLst/>
          </a:prstGeom>
          <a:noFill/>
          <a:ln w="9525">
            <a:noFill/>
            <a:miter lim="800000"/>
            <a:headEnd/>
            <a:tailEnd/>
          </a:ln>
          <a:effectLst/>
        </p:spPr>
        <p:txBody>
          <a:bodyPr wrap="square" lIns="0" tIns="0" rIns="0" bIns="0" anchor="ctr">
            <a:spAutoFit/>
          </a:bodyPr>
          <a:lstStyle/>
          <a:p>
            <a:pPr algn="r" rtl="0"/>
            <a:r>
              <a:rPr lang="en-US" sz="500" b="0" i="0" u="none" strike="noStrike" baseline="0" dirty="0">
                <a:solidFill>
                  <a:srgbClr val="000000"/>
                </a:solidFill>
                <a:latin typeface="Arial" panose="020B0604020202020204" pitchFamily="34" charset="0"/>
                <a:cs typeface="Arial" panose="020B0604020202020204" pitchFamily="34" charset="0"/>
              </a:rPr>
              <a:t>© 2017 Grant Thornton LLP  |  All rights reserved  | U.S. member firm of Grant Thornton International Ltd</a:t>
            </a:r>
          </a:p>
          <a:p>
            <a:pPr algn="r" rtl="0"/>
            <a:endParaRPr lang="en-US" sz="500" b="0" i="0" u="none" strike="noStrike" baseline="0" dirty="0">
              <a:solidFill>
                <a:srgbClr val="000000"/>
              </a:solidFill>
              <a:latin typeface="Arial" panose="020B0604020202020204" pitchFamily="34" charset="0"/>
              <a:cs typeface="Arial" panose="020B0604020202020204" pitchFamily="34" charset="0"/>
            </a:endParaRPr>
          </a:p>
          <a:p>
            <a:pPr algn="r" rtl="0"/>
            <a:endParaRPr lang="en-US" sz="500" b="0" i="0" u="none" strike="noStrike" kern="1200" baseline="30000" dirty="0">
              <a:solidFill>
                <a:srgbClr val="000000"/>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18152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4 headsho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4F2D7F"/>
                </a:solidFill>
              </a:defRPr>
            </a:lvl1pPr>
          </a:lstStyle>
          <a:p>
            <a:r>
              <a:rPr lang="en-US"/>
              <a:t>Click to edit Master title style</a:t>
            </a:r>
          </a:p>
        </p:txBody>
      </p:sp>
      <p:sp>
        <p:nvSpPr>
          <p:cNvPr id="14" name="Picture Placeholder 4"/>
          <p:cNvSpPr>
            <a:spLocks noGrp="1"/>
          </p:cNvSpPr>
          <p:nvPr>
            <p:ph type="pic" sz="quarter" idx="10" hasCustomPrompt="1"/>
          </p:nvPr>
        </p:nvSpPr>
        <p:spPr>
          <a:xfrm>
            <a:off x="786189" y="1838642"/>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15" name="Picture Placeholder 4"/>
          <p:cNvSpPr>
            <a:spLocks noGrp="1"/>
          </p:cNvSpPr>
          <p:nvPr>
            <p:ph type="pic" sz="quarter" idx="11" hasCustomPrompt="1"/>
          </p:nvPr>
        </p:nvSpPr>
        <p:spPr>
          <a:xfrm>
            <a:off x="2883574" y="1838642"/>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16" name="Picture Placeholder 4"/>
          <p:cNvSpPr>
            <a:spLocks noGrp="1"/>
          </p:cNvSpPr>
          <p:nvPr>
            <p:ph type="pic" sz="quarter" idx="12" hasCustomPrompt="1"/>
          </p:nvPr>
        </p:nvSpPr>
        <p:spPr>
          <a:xfrm>
            <a:off x="4975316" y="1838642"/>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17" name="Picture Placeholder 4"/>
          <p:cNvSpPr>
            <a:spLocks noGrp="1"/>
          </p:cNvSpPr>
          <p:nvPr>
            <p:ph type="pic" sz="quarter" idx="13" hasCustomPrompt="1"/>
          </p:nvPr>
        </p:nvSpPr>
        <p:spPr>
          <a:xfrm>
            <a:off x="7067058" y="1838642"/>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pic>
        <p:nvPicPr>
          <p:cNvPr id="7"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4701884"/>
            <a:ext cx="1663085" cy="355891"/>
          </a:xfrm>
          <a:prstGeom prst="rect">
            <a:avLst/>
          </a:prstGeom>
        </p:spPr>
      </p:pic>
      <p:cxnSp>
        <p:nvCxnSpPr>
          <p:cNvPr id="8" name="Straight Connector 7"/>
          <p:cNvCxnSpPr/>
          <p:nvPr userDrawn="1"/>
        </p:nvCxnSpPr>
        <p:spPr>
          <a:xfrm>
            <a:off x="476251" y="4614196"/>
            <a:ext cx="1562099" cy="0"/>
          </a:xfrm>
          <a:prstGeom prst="line">
            <a:avLst/>
          </a:prstGeom>
          <a:ln w="19050" cap="rnd">
            <a:solidFill>
              <a:srgbClr val="471E82"/>
            </a:solidFill>
          </a:ln>
        </p:spPr>
        <p:style>
          <a:lnRef idx="1">
            <a:schemeClr val="accent1"/>
          </a:lnRef>
          <a:fillRef idx="0">
            <a:schemeClr val="accent1"/>
          </a:fillRef>
          <a:effectRef idx="0">
            <a:schemeClr val="accent1"/>
          </a:effectRef>
          <a:fontRef idx="minor">
            <a:schemeClr val="tx1"/>
          </a:fontRef>
        </p:style>
      </p:cxnSp>
      <p:sp>
        <p:nvSpPr>
          <p:cNvPr id="11" name="Slide Number Placeholder 3">
            <a:extLst>
              <a:ext uri="{FF2B5EF4-FFF2-40B4-BE49-F238E27FC236}">
                <a16:creationId xmlns:a16="http://schemas.microsoft.com/office/drawing/2014/main" id="{2D3B18F5-17EC-4822-8E58-1C8F6E42187D}"/>
              </a:ext>
            </a:extLst>
          </p:cNvPr>
          <p:cNvSpPr>
            <a:spLocks noGrp="1"/>
          </p:cNvSpPr>
          <p:nvPr>
            <p:ph type="sldNum" sz="quarter" idx="4"/>
          </p:nvPr>
        </p:nvSpPr>
        <p:spPr>
          <a:xfrm>
            <a:off x="8430768" y="4837176"/>
            <a:ext cx="365760" cy="201168"/>
          </a:xfrm>
          <a:prstGeom prst="rect">
            <a:avLst/>
          </a:prstGeom>
        </p:spPr>
        <p:txBody>
          <a:bodyPr anchor="b" anchorCtr="0"/>
          <a:lstStyle>
            <a:lvl1pPr algn="r">
              <a:defRPr sz="700"/>
            </a:lvl1pPr>
          </a:lstStyle>
          <a:p>
            <a:fld id="{0E0C512C-2A69-4D15-9349-877CDA6B8ABD}" type="slidenum">
              <a:rPr lang="en-GB" smtClean="0"/>
              <a:pPr/>
              <a:t>‹#›</a:t>
            </a:fld>
            <a:endParaRPr lang="en-GB" dirty="0"/>
          </a:p>
        </p:txBody>
      </p:sp>
      <p:sp>
        <p:nvSpPr>
          <p:cNvPr id="13" name="Copyright_GT">
            <a:extLst>
              <a:ext uri="{FF2B5EF4-FFF2-40B4-BE49-F238E27FC236}">
                <a16:creationId xmlns:a16="http://schemas.microsoft.com/office/drawing/2014/main" id="{75110DA5-A0F0-4E70-A66E-16D56B90D832}"/>
              </a:ext>
            </a:extLst>
          </p:cNvPr>
          <p:cNvSpPr txBox="1">
            <a:spLocks noChangeArrowheads="1"/>
          </p:cNvSpPr>
          <p:nvPr userDrawn="1"/>
        </p:nvSpPr>
        <p:spPr bwMode="auto">
          <a:xfrm>
            <a:off x="4517065" y="4901072"/>
            <a:ext cx="3971299" cy="205184"/>
          </a:xfrm>
          <a:prstGeom prst="rect">
            <a:avLst/>
          </a:prstGeom>
          <a:noFill/>
          <a:ln w="9525">
            <a:noFill/>
            <a:miter lim="800000"/>
            <a:headEnd/>
            <a:tailEnd/>
          </a:ln>
          <a:effectLst/>
        </p:spPr>
        <p:txBody>
          <a:bodyPr wrap="square" lIns="0" tIns="0" rIns="0" bIns="0" anchor="ctr">
            <a:spAutoFit/>
          </a:bodyPr>
          <a:lstStyle/>
          <a:p>
            <a:pPr algn="r" rtl="0"/>
            <a:r>
              <a:rPr lang="en-US" sz="500" b="0" i="0" u="none" strike="noStrike" baseline="0">
                <a:solidFill>
                  <a:srgbClr val="000000"/>
                </a:solidFill>
                <a:latin typeface="Arial" panose="020B0604020202020204" pitchFamily="34" charset="0"/>
                <a:cs typeface="Arial" panose="020B0604020202020204" pitchFamily="34" charset="0"/>
              </a:rPr>
              <a:t>© 2017 Grant Thornton LLP  |  All rights reserved  | U.S. member firm of Grant Thornton International Ltd</a:t>
            </a:r>
          </a:p>
          <a:p>
            <a:pPr algn="r" rtl="0"/>
            <a:endParaRPr lang="en-US" sz="500" b="0" i="0" u="none" strike="noStrike" baseline="0">
              <a:solidFill>
                <a:srgbClr val="000000"/>
              </a:solidFill>
              <a:latin typeface="Arial" panose="020B0604020202020204" pitchFamily="34" charset="0"/>
              <a:cs typeface="Arial" panose="020B0604020202020204" pitchFamily="34" charset="0"/>
            </a:endParaRPr>
          </a:p>
          <a:p>
            <a:pPr algn="r" rtl="0"/>
            <a:endParaRPr lang="en-US" sz="500" b="0" i="0" u="none" strike="noStrike" kern="1200" baseline="30000" dirty="0">
              <a:solidFill>
                <a:srgbClr val="000000"/>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655078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8 headsho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4F2D7F"/>
                </a:solidFill>
              </a:defRPr>
            </a:lvl1pPr>
          </a:lstStyle>
          <a:p>
            <a:r>
              <a:rPr lang="en-US"/>
              <a:t>Click to edit Master title style</a:t>
            </a:r>
          </a:p>
        </p:txBody>
      </p:sp>
      <p:pic>
        <p:nvPicPr>
          <p:cNvPr id="16"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4701884"/>
            <a:ext cx="1663085" cy="355891"/>
          </a:xfrm>
          <a:prstGeom prst="rect">
            <a:avLst/>
          </a:prstGeom>
        </p:spPr>
      </p:pic>
      <p:cxnSp>
        <p:nvCxnSpPr>
          <p:cNvPr id="23" name="Straight Connector 22"/>
          <p:cNvCxnSpPr/>
          <p:nvPr userDrawn="1"/>
        </p:nvCxnSpPr>
        <p:spPr>
          <a:xfrm>
            <a:off x="476251" y="4614196"/>
            <a:ext cx="1562099" cy="0"/>
          </a:xfrm>
          <a:prstGeom prst="line">
            <a:avLst/>
          </a:prstGeom>
          <a:ln w="19050" cap="rnd">
            <a:solidFill>
              <a:srgbClr val="471E82"/>
            </a:solidFill>
          </a:ln>
        </p:spPr>
        <p:style>
          <a:lnRef idx="1">
            <a:schemeClr val="accent1"/>
          </a:lnRef>
          <a:fillRef idx="0">
            <a:schemeClr val="accent1"/>
          </a:fillRef>
          <a:effectRef idx="0">
            <a:schemeClr val="accent1"/>
          </a:effectRef>
          <a:fontRef idx="minor">
            <a:schemeClr val="tx1"/>
          </a:fontRef>
        </p:style>
      </p:cxnSp>
      <p:sp>
        <p:nvSpPr>
          <p:cNvPr id="25" name="Picture Placeholder 4"/>
          <p:cNvSpPr>
            <a:spLocks noGrp="1"/>
          </p:cNvSpPr>
          <p:nvPr>
            <p:ph type="pic" sz="quarter" idx="10" hasCustomPrompt="1"/>
          </p:nvPr>
        </p:nvSpPr>
        <p:spPr>
          <a:xfrm>
            <a:off x="786189" y="1101346"/>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26" name="Picture Placeholder 4"/>
          <p:cNvSpPr>
            <a:spLocks noGrp="1"/>
          </p:cNvSpPr>
          <p:nvPr>
            <p:ph type="pic" sz="quarter" idx="11" hasCustomPrompt="1"/>
          </p:nvPr>
        </p:nvSpPr>
        <p:spPr>
          <a:xfrm>
            <a:off x="2883574" y="1101346"/>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27" name="Picture Placeholder 4"/>
          <p:cNvSpPr>
            <a:spLocks noGrp="1"/>
          </p:cNvSpPr>
          <p:nvPr>
            <p:ph type="pic" sz="quarter" idx="12" hasCustomPrompt="1"/>
          </p:nvPr>
        </p:nvSpPr>
        <p:spPr>
          <a:xfrm>
            <a:off x="4975316" y="1101346"/>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28" name="Picture Placeholder 4"/>
          <p:cNvSpPr>
            <a:spLocks noGrp="1"/>
          </p:cNvSpPr>
          <p:nvPr>
            <p:ph type="pic" sz="quarter" idx="13" hasCustomPrompt="1"/>
          </p:nvPr>
        </p:nvSpPr>
        <p:spPr>
          <a:xfrm>
            <a:off x="7067058" y="1101346"/>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29" name="Picture Placeholder 4"/>
          <p:cNvSpPr>
            <a:spLocks noGrp="1"/>
          </p:cNvSpPr>
          <p:nvPr>
            <p:ph type="pic" sz="quarter" idx="14" hasCustomPrompt="1"/>
          </p:nvPr>
        </p:nvSpPr>
        <p:spPr>
          <a:xfrm>
            <a:off x="786189" y="2837518"/>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30" name="Picture Placeholder 4"/>
          <p:cNvSpPr>
            <a:spLocks noGrp="1"/>
          </p:cNvSpPr>
          <p:nvPr>
            <p:ph type="pic" sz="quarter" idx="15" hasCustomPrompt="1"/>
          </p:nvPr>
        </p:nvSpPr>
        <p:spPr>
          <a:xfrm>
            <a:off x="2883574" y="2837518"/>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31" name="Picture Placeholder 4"/>
          <p:cNvSpPr>
            <a:spLocks noGrp="1"/>
          </p:cNvSpPr>
          <p:nvPr>
            <p:ph type="pic" sz="quarter" idx="16" hasCustomPrompt="1"/>
          </p:nvPr>
        </p:nvSpPr>
        <p:spPr>
          <a:xfrm>
            <a:off x="4975316" y="2837518"/>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32" name="Picture Placeholder 4"/>
          <p:cNvSpPr>
            <a:spLocks noGrp="1"/>
          </p:cNvSpPr>
          <p:nvPr>
            <p:ph type="pic" sz="quarter" idx="17" hasCustomPrompt="1"/>
          </p:nvPr>
        </p:nvSpPr>
        <p:spPr>
          <a:xfrm>
            <a:off x="7067058" y="2837518"/>
            <a:ext cx="1054786" cy="1054786"/>
          </a:xfrm>
          <a:prstGeom prst="ellipse">
            <a:avLst/>
          </a:prstGeom>
          <a:solidFill>
            <a:schemeClr val="bg1"/>
          </a:solidFill>
          <a:ln>
            <a:noFill/>
          </a:ln>
        </p:spPr>
        <p:txBody>
          <a:bodyPr anchor="ctr"/>
          <a:lstStyle>
            <a:lvl1pPr marL="0" indent="0" algn="ctr">
              <a:buNone/>
              <a:defRPr sz="900" baseline="0"/>
            </a:lvl1pPr>
          </a:lstStyle>
          <a:p>
            <a:r>
              <a:rPr lang="en-US" sz="1200" dirty="0"/>
              <a:t>insert picture here</a:t>
            </a:r>
            <a:endParaRPr lang="en-US" dirty="0"/>
          </a:p>
        </p:txBody>
      </p:sp>
      <p:sp>
        <p:nvSpPr>
          <p:cNvPr id="17" name="Slide Number Placeholder 3">
            <a:extLst>
              <a:ext uri="{FF2B5EF4-FFF2-40B4-BE49-F238E27FC236}">
                <a16:creationId xmlns:a16="http://schemas.microsoft.com/office/drawing/2014/main" id="{76D809F8-B526-4696-89F3-F5E423161B33}"/>
              </a:ext>
            </a:extLst>
          </p:cNvPr>
          <p:cNvSpPr>
            <a:spLocks noGrp="1"/>
          </p:cNvSpPr>
          <p:nvPr>
            <p:ph type="sldNum" sz="quarter" idx="4"/>
          </p:nvPr>
        </p:nvSpPr>
        <p:spPr>
          <a:xfrm>
            <a:off x="8430768" y="4837176"/>
            <a:ext cx="365760" cy="201168"/>
          </a:xfrm>
          <a:prstGeom prst="rect">
            <a:avLst/>
          </a:prstGeom>
        </p:spPr>
        <p:txBody>
          <a:bodyPr anchor="b" anchorCtr="0"/>
          <a:lstStyle>
            <a:lvl1pPr algn="r">
              <a:defRPr sz="700"/>
            </a:lvl1pPr>
          </a:lstStyle>
          <a:p>
            <a:fld id="{0E0C512C-2A69-4D15-9349-877CDA6B8ABD}" type="slidenum">
              <a:rPr lang="en-GB" smtClean="0"/>
              <a:pPr/>
              <a:t>‹#›</a:t>
            </a:fld>
            <a:endParaRPr lang="en-GB" dirty="0"/>
          </a:p>
        </p:txBody>
      </p:sp>
      <p:sp>
        <p:nvSpPr>
          <p:cNvPr id="18" name="Copyright_GT">
            <a:extLst>
              <a:ext uri="{FF2B5EF4-FFF2-40B4-BE49-F238E27FC236}">
                <a16:creationId xmlns:a16="http://schemas.microsoft.com/office/drawing/2014/main" id="{79C538C8-5D0B-4B76-9DC8-1B1EB0AA04E5}"/>
              </a:ext>
            </a:extLst>
          </p:cNvPr>
          <p:cNvSpPr txBox="1">
            <a:spLocks noChangeArrowheads="1"/>
          </p:cNvSpPr>
          <p:nvPr userDrawn="1"/>
        </p:nvSpPr>
        <p:spPr bwMode="auto">
          <a:xfrm>
            <a:off x="4517065" y="4901072"/>
            <a:ext cx="3971299" cy="205184"/>
          </a:xfrm>
          <a:prstGeom prst="rect">
            <a:avLst/>
          </a:prstGeom>
          <a:noFill/>
          <a:ln w="9525">
            <a:noFill/>
            <a:miter lim="800000"/>
            <a:headEnd/>
            <a:tailEnd/>
          </a:ln>
          <a:effectLst/>
        </p:spPr>
        <p:txBody>
          <a:bodyPr wrap="square" lIns="0" tIns="0" rIns="0" bIns="0" anchor="ctr">
            <a:spAutoFit/>
          </a:bodyPr>
          <a:lstStyle/>
          <a:p>
            <a:pPr algn="r" rtl="0"/>
            <a:r>
              <a:rPr lang="en-US" sz="500" b="0" i="0" u="none" strike="noStrike" baseline="0">
                <a:solidFill>
                  <a:srgbClr val="000000"/>
                </a:solidFill>
                <a:latin typeface="Arial" panose="020B0604020202020204" pitchFamily="34" charset="0"/>
                <a:cs typeface="Arial" panose="020B0604020202020204" pitchFamily="34" charset="0"/>
              </a:rPr>
              <a:t>© 2017 Grant Thornton LLP  |  All rights reserved  | U.S. member firm of Grant Thornton International Ltd</a:t>
            </a:r>
          </a:p>
          <a:p>
            <a:pPr algn="r" rtl="0"/>
            <a:endParaRPr lang="en-US" sz="500" b="0" i="0" u="none" strike="noStrike" baseline="0">
              <a:solidFill>
                <a:srgbClr val="000000"/>
              </a:solidFill>
              <a:latin typeface="Arial" panose="020B0604020202020204" pitchFamily="34" charset="0"/>
              <a:cs typeface="Arial" panose="020B0604020202020204" pitchFamily="34" charset="0"/>
            </a:endParaRPr>
          </a:p>
          <a:p>
            <a:pPr algn="r" rtl="0"/>
            <a:endParaRPr lang="en-US" sz="500" b="0" i="0" u="none" strike="noStrike" kern="1200" baseline="30000" dirty="0">
              <a:solidFill>
                <a:srgbClr val="000000"/>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97325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o content">
    <p:spTree>
      <p:nvGrpSpPr>
        <p:cNvPr id="1" name=""/>
        <p:cNvGrpSpPr/>
        <p:nvPr/>
      </p:nvGrpSpPr>
      <p:grpSpPr>
        <a:xfrm>
          <a:off x="0" y="0"/>
          <a:ext cx="0" cy="0"/>
          <a:chOff x="0" y="0"/>
          <a:chExt cx="0" cy="0"/>
        </a:xfrm>
      </p:grpSpPr>
      <p:pic>
        <p:nvPicPr>
          <p:cNvPr id="11"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4701884"/>
            <a:ext cx="1663085" cy="355891"/>
          </a:xfrm>
          <a:prstGeom prst="rect">
            <a:avLst/>
          </a:prstGeom>
        </p:spPr>
      </p:pic>
      <p:cxnSp>
        <p:nvCxnSpPr>
          <p:cNvPr id="12" name="Straight Connector 11"/>
          <p:cNvCxnSpPr/>
          <p:nvPr userDrawn="1"/>
        </p:nvCxnSpPr>
        <p:spPr>
          <a:xfrm>
            <a:off x="476251" y="4614196"/>
            <a:ext cx="1562099" cy="0"/>
          </a:xfrm>
          <a:prstGeom prst="line">
            <a:avLst/>
          </a:prstGeom>
          <a:ln w="19050" cap="rnd">
            <a:solidFill>
              <a:srgbClr val="471E82"/>
            </a:solidFill>
          </a:ln>
        </p:spPr>
        <p:style>
          <a:lnRef idx="1">
            <a:schemeClr val="accent1"/>
          </a:lnRef>
          <a:fillRef idx="0">
            <a:schemeClr val="accent1"/>
          </a:fillRef>
          <a:effectRef idx="0">
            <a:schemeClr val="accent1"/>
          </a:effectRef>
          <a:fontRef idx="minor">
            <a:schemeClr val="tx1"/>
          </a:fontRef>
        </p:style>
      </p:cxnSp>
      <p:sp>
        <p:nvSpPr>
          <p:cNvPr id="6" name="Slide Number Placeholder 3">
            <a:extLst>
              <a:ext uri="{FF2B5EF4-FFF2-40B4-BE49-F238E27FC236}">
                <a16:creationId xmlns:a16="http://schemas.microsoft.com/office/drawing/2014/main" id="{4C0E41C9-6D04-433D-87AF-1B8ECB2BFE2C}"/>
              </a:ext>
            </a:extLst>
          </p:cNvPr>
          <p:cNvSpPr>
            <a:spLocks noGrp="1"/>
          </p:cNvSpPr>
          <p:nvPr>
            <p:ph type="sldNum" sz="quarter" idx="4"/>
          </p:nvPr>
        </p:nvSpPr>
        <p:spPr>
          <a:xfrm>
            <a:off x="8430768" y="4837176"/>
            <a:ext cx="365760" cy="201168"/>
          </a:xfrm>
          <a:prstGeom prst="rect">
            <a:avLst/>
          </a:prstGeom>
        </p:spPr>
        <p:txBody>
          <a:bodyPr anchor="b" anchorCtr="0"/>
          <a:lstStyle>
            <a:lvl1pPr algn="r">
              <a:defRPr sz="700"/>
            </a:lvl1pPr>
          </a:lstStyle>
          <a:p>
            <a:fld id="{0E0C512C-2A69-4D15-9349-877CDA6B8ABD}" type="slidenum">
              <a:rPr lang="en-GB" smtClean="0"/>
              <a:pPr/>
              <a:t>‹#›</a:t>
            </a:fld>
            <a:endParaRPr lang="en-GB" dirty="0"/>
          </a:p>
        </p:txBody>
      </p:sp>
      <p:sp>
        <p:nvSpPr>
          <p:cNvPr id="8" name="Copyright_GT">
            <a:extLst>
              <a:ext uri="{FF2B5EF4-FFF2-40B4-BE49-F238E27FC236}">
                <a16:creationId xmlns:a16="http://schemas.microsoft.com/office/drawing/2014/main" id="{88AED1CD-1D4D-4D68-8874-89A858CC998F}"/>
              </a:ext>
            </a:extLst>
          </p:cNvPr>
          <p:cNvSpPr txBox="1">
            <a:spLocks noChangeArrowheads="1"/>
          </p:cNvSpPr>
          <p:nvPr userDrawn="1"/>
        </p:nvSpPr>
        <p:spPr bwMode="auto">
          <a:xfrm>
            <a:off x="4517065" y="4901072"/>
            <a:ext cx="3971299" cy="205184"/>
          </a:xfrm>
          <a:prstGeom prst="rect">
            <a:avLst/>
          </a:prstGeom>
          <a:noFill/>
          <a:ln w="9525">
            <a:noFill/>
            <a:miter lim="800000"/>
            <a:headEnd/>
            <a:tailEnd/>
          </a:ln>
          <a:effectLst/>
        </p:spPr>
        <p:txBody>
          <a:bodyPr wrap="square" lIns="0" tIns="0" rIns="0" bIns="0" anchor="ctr">
            <a:spAutoFit/>
          </a:bodyPr>
          <a:lstStyle/>
          <a:p>
            <a:pPr algn="r" rtl="0"/>
            <a:r>
              <a:rPr lang="en-US" sz="500" b="0" i="0" u="none" strike="noStrike" baseline="0" dirty="0">
                <a:solidFill>
                  <a:srgbClr val="000000"/>
                </a:solidFill>
                <a:latin typeface="Arial" panose="020B0604020202020204" pitchFamily="34" charset="0"/>
                <a:cs typeface="Arial" panose="020B0604020202020204" pitchFamily="34" charset="0"/>
              </a:rPr>
              <a:t>© 2017 Grant Thornton LLP  |  All rights reserved  | U.S. member firm of Grant Thornton International Ltd</a:t>
            </a:r>
          </a:p>
          <a:p>
            <a:pPr algn="r" rtl="0"/>
            <a:endParaRPr lang="en-US" sz="500" b="0" i="0" u="none" strike="noStrike" baseline="0" dirty="0">
              <a:solidFill>
                <a:srgbClr val="000000"/>
              </a:solidFill>
              <a:latin typeface="Arial" panose="020B0604020202020204" pitchFamily="34" charset="0"/>
              <a:cs typeface="Arial" panose="020B0604020202020204" pitchFamily="34" charset="0"/>
            </a:endParaRPr>
          </a:p>
          <a:p>
            <a:pPr algn="r" rtl="0"/>
            <a:endParaRPr lang="en-US" sz="500" b="0" i="0" u="none" strike="noStrike" kern="1200" baseline="30000" dirty="0">
              <a:solidFill>
                <a:srgbClr val="000000"/>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322512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nted background">
    <p:spTree>
      <p:nvGrpSpPr>
        <p:cNvPr id="1" name=""/>
        <p:cNvGrpSpPr/>
        <p:nvPr/>
      </p:nvGrpSpPr>
      <p:grpSpPr>
        <a:xfrm>
          <a:off x="0" y="0"/>
          <a:ext cx="0" cy="0"/>
          <a:chOff x="0" y="0"/>
          <a:chExt cx="0" cy="0"/>
        </a:xfrm>
      </p:grpSpPr>
      <p:sp>
        <p:nvSpPr>
          <p:cNvPr id="7" name="Rectangle 6"/>
          <p:cNvSpPr/>
          <p:nvPr userDrawn="1"/>
        </p:nvSpPr>
        <p:spPr>
          <a:xfrm>
            <a:off x="0" y="175"/>
            <a:ext cx="9144000" cy="514332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72893220"/>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back cover">
    <p:spTree>
      <p:nvGrpSpPr>
        <p:cNvPr id="1" name=""/>
        <p:cNvGrpSpPr/>
        <p:nvPr/>
      </p:nvGrpSpPr>
      <p:grpSpPr>
        <a:xfrm>
          <a:off x="0" y="0"/>
          <a:ext cx="0" cy="0"/>
          <a:chOff x="0" y="0"/>
          <a:chExt cx="0" cy="0"/>
        </a:xfrm>
      </p:grpSpPr>
      <p:sp>
        <p:nvSpPr>
          <p:cNvPr id="2" name="Rectangle 1"/>
          <p:cNvSpPr/>
          <p:nvPr userDrawn="1"/>
        </p:nvSpPr>
        <p:spPr>
          <a:xfrm>
            <a:off x="2458720" y="4368965"/>
            <a:ext cx="6314440" cy="323165"/>
          </a:xfrm>
          <a:prstGeom prst="rect">
            <a:avLst/>
          </a:prstGeom>
        </p:spPr>
        <p:txBody>
          <a:bodyPr wrap="square" anchor="b">
            <a:spAutoFit/>
          </a:bodyPr>
          <a:lstStyle/>
          <a:p>
            <a:pPr algn="l"/>
            <a:r>
              <a:rPr lang="en-US" sz="500" b="0" i="0" u="none" strike="noStrike" baseline="0" dirty="0">
                <a:solidFill>
                  <a:srgbClr val="000000"/>
                </a:solidFill>
                <a:latin typeface="Arial" panose="020B0604020202020204" pitchFamily="34" charset="0"/>
                <a:cs typeface="Arial" panose="020B0604020202020204" pitchFamily="34" charset="0"/>
              </a:rPr>
              <a:t>“Grant Thornton” refers to Grant Thornton LLP, the U.S. member firm of Grant Thornton International Ltd (GTIL), and/or refers to the brand under which the independent network of GTIL member firms provide services to their clients, as the context requires. GTIL and each of its member firms are not a worldwide partnership and are not liable for one another’s acts or omissions. In the United States, visit grantthornton.com for details. </a:t>
            </a:r>
            <a:br>
              <a:rPr lang="en-US" sz="500" b="0" i="0" u="none" strike="noStrike" baseline="0" dirty="0">
                <a:solidFill>
                  <a:srgbClr val="000000"/>
                </a:solidFill>
                <a:latin typeface="Arial" panose="020B0604020202020204" pitchFamily="34" charset="0"/>
                <a:cs typeface="Arial" panose="020B0604020202020204" pitchFamily="34" charset="0"/>
              </a:rPr>
            </a:br>
            <a:r>
              <a:rPr lang="en-US" sz="500" b="0" i="0" u="none" strike="noStrike" baseline="0" dirty="0">
                <a:solidFill>
                  <a:srgbClr val="000000"/>
                </a:solidFill>
                <a:latin typeface="Arial" panose="020B0604020202020204" pitchFamily="34" charset="0"/>
                <a:cs typeface="Arial" panose="020B0604020202020204" pitchFamily="34" charset="0"/>
              </a:rPr>
              <a:t>© 2017 Grant Thornton LLP | All rights reserved | U.S. member firm of Grant Thornton International Ltd</a:t>
            </a:r>
            <a:endParaRPr lang="en-US" sz="500" b="0" i="0" u="none" strike="noStrike" kern="1200" baseline="30000" dirty="0">
              <a:solidFill>
                <a:srgbClr val="000000"/>
              </a:solidFill>
              <a:latin typeface="Arial" panose="020B0604020202020204" pitchFamily="34" charset="0"/>
              <a:ea typeface="+mn-ea"/>
              <a:cs typeface="Arial" panose="020B0604020202020204" pitchFamily="34" charset="0"/>
            </a:endParaRPr>
          </a:p>
        </p:txBody>
      </p:sp>
      <p:pic>
        <p:nvPicPr>
          <p:cNvPr id="5"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4009258"/>
            <a:ext cx="1663085" cy="355891"/>
          </a:xfrm>
          <a:prstGeom prst="rect">
            <a:avLst/>
          </a:prstGeom>
        </p:spPr>
      </p:pic>
      <p:cxnSp>
        <p:nvCxnSpPr>
          <p:cNvPr id="7" name="Straight Connector 6"/>
          <p:cNvCxnSpPr/>
          <p:nvPr userDrawn="1"/>
        </p:nvCxnSpPr>
        <p:spPr>
          <a:xfrm>
            <a:off x="476251" y="4614196"/>
            <a:ext cx="1562099" cy="0"/>
          </a:xfrm>
          <a:prstGeom prst="line">
            <a:avLst/>
          </a:prstGeom>
          <a:ln w="19050" cap="rnd">
            <a:solidFill>
              <a:srgbClr val="471E8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743873"/>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6" name="Title 3"/>
          <p:cNvSpPr txBox="1">
            <a:spLocks/>
          </p:cNvSpPr>
          <p:nvPr userDrawn="1"/>
        </p:nvSpPr>
        <p:spPr bwMode="auto">
          <a:xfrm>
            <a:off x="0" y="0"/>
            <a:ext cx="9144000" cy="5143500"/>
          </a:xfrm>
          <a:prstGeom prst="rect">
            <a:avLst/>
          </a:prstGeom>
          <a:solidFill>
            <a:srgbClr val="502D7F"/>
          </a:solid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a:solidFill>
                  <a:schemeClr val="tx1"/>
                </a:solidFill>
                <a:latin typeface="+mj-lt"/>
                <a:ea typeface="+mj-ea"/>
                <a:cs typeface="+mj-cs"/>
              </a:defRPr>
            </a:lvl1pPr>
            <a:lvl2pPr algn="l" rtl="0" eaLnBrk="1" fontAlgn="base" hangingPunct="1">
              <a:spcBef>
                <a:spcPct val="0"/>
              </a:spcBef>
              <a:spcAft>
                <a:spcPct val="0"/>
              </a:spcAft>
              <a:defRPr sz="2800">
                <a:solidFill>
                  <a:schemeClr val="tx2"/>
                </a:solidFill>
                <a:latin typeface="Arial" charset="0"/>
              </a:defRPr>
            </a:lvl2pPr>
            <a:lvl3pPr algn="l" rtl="0" eaLnBrk="1" fontAlgn="base" hangingPunct="1">
              <a:spcBef>
                <a:spcPct val="0"/>
              </a:spcBef>
              <a:spcAft>
                <a:spcPct val="0"/>
              </a:spcAft>
              <a:defRPr sz="2800">
                <a:solidFill>
                  <a:schemeClr val="tx2"/>
                </a:solidFill>
                <a:latin typeface="Arial" charset="0"/>
              </a:defRPr>
            </a:lvl3pPr>
            <a:lvl4pPr algn="l" rtl="0" eaLnBrk="1" fontAlgn="base" hangingPunct="1">
              <a:spcBef>
                <a:spcPct val="0"/>
              </a:spcBef>
              <a:spcAft>
                <a:spcPct val="0"/>
              </a:spcAft>
              <a:defRPr sz="2800">
                <a:solidFill>
                  <a:schemeClr val="tx2"/>
                </a:solidFill>
                <a:latin typeface="Arial" charset="0"/>
              </a:defRPr>
            </a:lvl4pPr>
            <a:lvl5pPr algn="l" rtl="0" eaLnBrk="1" fontAlgn="base" hangingPunct="1">
              <a:spcBef>
                <a:spcPct val="0"/>
              </a:spcBef>
              <a:spcAft>
                <a:spcPct val="0"/>
              </a:spcAft>
              <a:defRPr sz="2800">
                <a:solidFill>
                  <a:schemeClr val="tx2"/>
                </a:solidFill>
                <a:latin typeface="Arial" charset="0"/>
              </a:defRPr>
            </a:lvl5pPr>
            <a:lvl6pPr marL="457200" algn="l" rtl="0" eaLnBrk="1" fontAlgn="base" hangingPunct="1">
              <a:spcBef>
                <a:spcPct val="0"/>
              </a:spcBef>
              <a:spcAft>
                <a:spcPct val="0"/>
              </a:spcAft>
              <a:defRPr sz="2800">
                <a:solidFill>
                  <a:schemeClr val="tx2"/>
                </a:solidFill>
                <a:latin typeface="Arial" charset="0"/>
              </a:defRPr>
            </a:lvl6pPr>
            <a:lvl7pPr marL="914400" algn="l" rtl="0" eaLnBrk="1" fontAlgn="base" hangingPunct="1">
              <a:spcBef>
                <a:spcPct val="0"/>
              </a:spcBef>
              <a:spcAft>
                <a:spcPct val="0"/>
              </a:spcAft>
              <a:defRPr sz="2800">
                <a:solidFill>
                  <a:schemeClr val="tx2"/>
                </a:solidFill>
                <a:latin typeface="Arial" charset="0"/>
              </a:defRPr>
            </a:lvl7pPr>
            <a:lvl8pPr marL="1371600" algn="l" rtl="0" eaLnBrk="1" fontAlgn="base" hangingPunct="1">
              <a:spcBef>
                <a:spcPct val="0"/>
              </a:spcBef>
              <a:spcAft>
                <a:spcPct val="0"/>
              </a:spcAft>
              <a:defRPr sz="2800">
                <a:solidFill>
                  <a:schemeClr val="tx2"/>
                </a:solidFill>
                <a:latin typeface="Arial" charset="0"/>
              </a:defRPr>
            </a:lvl8pPr>
            <a:lvl9pPr marL="1828800" algn="l" rtl="0" eaLnBrk="1" fontAlgn="base" hangingPunct="1">
              <a:spcBef>
                <a:spcPct val="0"/>
              </a:spcBef>
              <a:spcAft>
                <a:spcPct val="0"/>
              </a:spcAft>
              <a:defRPr sz="2800">
                <a:solidFill>
                  <a:schemeClr val="tx2"/>
                </a:solidFill>
                <a:latin typeface="Arial" charset="0"/>
              </a:defRPr>
            </a:lvl9pPr>
          </a:lstStyle>
          <a:p>
            <a:endParaRPr lang="en-US" sz="3600" b="1" spc="-300" dirty="0">
              <a:solidFill>
                <a:schemeClr val="bg1"/>
              </a:solidFill>
              <a:latin typeface="Garamond" pitchFamily="18" charset="0"/>
            </a:endParaRPr>
          </a:p>
        </p:txBody>
      </p:sp>
      <p:pic>
        <p:nvPicPr>
          <p:cNvPr id="8" name="Picture 7" descr="GT_Bug.png"/>
          <p:cNvPicPr>
            <a:picLocks noChangeAspect="1"/>
          </p:cNvPicPr>
          <p:nvPr userDrawn="1"/>
        </p:nvPicPr>
        <p:blipFill rotWithShape="1">
          <a:blip r:embed="rId2" cstate="print">
            <a:alphaModFix amt="21000"/>
            <a:extLst>
              <a:ext uri="{28A0092B-C50C-407E-A947-70E740481C1C}">
                <a14:useLocalDpi xmlns:a14="http://schemas.microsoft.com/office/drawing/2010/main" val="0"/>
              </a:ext>
            </a:extLst>
          </a:blip>
          <a:srcRect l="28115" t="3361" b="3118"/>
          <a:stretch/>
        </p:blipFill>
        <p:spPr>
          <a:xfrm>
            <a:off x="-395417" y="-654909"/>
            <a:ext cx="9848335" cy="11397111"/>
          </a:xfrm>
          <a:prstGeom prst="rect">
            <a:avLst/>
          </a:prstGeom>
        </p:spPr>
      </p:pic>
      <p:sp>
        <p:nvSpPr>
          <p:cNvPr id="9" name="Title Placeholder"/>
          <p:cNvSpPr>
            <a:spLocks noGrp="1" noChangeArrowheads="1"/>
          </p:cNvSpPr>
          <p:nvPr>
            <p:ph type="ctrTitle" sz="quarter"/>
          </p:nvPr>
        </p:nvSpPr>
        <p:spPr>
          <a:xfrm>
            <a:off x="914400" y="1885950"/>
            <a:ext cx="7869239" cy="1828800"/>
          </a:xfrm>
        </p:spPr>
        <p:txBody>
          <a:bodyPr anchor="t"/>
          <a:lstStyle>
            <a:lvl1pPr>
              <a:defRPr sz="3600">
                <a:solidFill>
                  <a:schemeClr val="bg1"/>
                </a:solidFill>
              </a:defRPr>
            </a:lvl1pPr>
          </a:lstStyle>
          <a:p>
            <a:r>
              <a:rPr lang="en-US"/>
              <a:t>Click to edit Master title styl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4042" y="622480"/>
            <a:ext cx="2933217" cy="544907"/>
          </a:xfrm>
          <a:prstGeom prst="rect">
            <a:avLst/>
          </a:prstGeom>
        </p:spPr>
      </p:pic>
    </p:spTree>
    <p:extLst>
      <p:ext uri="{BB962C8B-B14F-4D97-AF65-F5344CB8AC3E}">
        <p14:creationId xmlns:p14="http://schemas.microsoft.com/office/powerpoint/2010/main" val="13837614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lor curved photo">
    <p:spTree>
      <p:nvGrpSpPr>
        <p:cNvPr id="1" name=""/>
        <p:cNvGrpSpPr/>
        <p:nvPr/>
      </p:nvGrpSpPr>
      <p:grpSpPr>
        <a:xfrm>
          <a:off x="0" y="0"/>
          <a:ext cx="0" cy="0"/>
          <a:chOff x="0" y="0"/>
          <a:chExt cx="0" cy="0"/>
        </a:xfrm>
      </p:grpSpPr>
      <p:pic>
        <p:nvPicPr>
          <p:cNvPr id="12"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361950"/>
            <a:ext cx="2133690" cy="456598"/>
          </a:xfrm>
          <a:prstGeom prst="rect">
            <a:avLst/>
          </a:prstGeom>
        </p:spPr>
      </p:pic>
      <p:sp>
        <p:nvSpPr>
          <p:cNvPr id="11" name="Rectangle 1"/>
          <p:cNvSpPr/>
          <p:nvPr userDrawn="1"/>
        </p:nvSpPr>
        <p:spPr>
          <a:xfrm>
            <a:off x="4500563" y="1203325"/>
            <a:ext cx="4643437" cy="3962400"/>
          </a:xfrm>
          <a:custGeom>
            <a:avLst/>
            <a:gdLst>
              <a:gd name="connsiteX0" fmla="*/ 0 w 5143500"/>
              <a:gd name="connsiteY0" fmla="*/ 0 h 5143500"/>
              <a:gd name="connsiteX1" fmla="*/ 5143500 w 5143500"/>
              <a:gd name="connsiteY1" fmla="*/ 0 h 5143500"/>
              <a:gd name="connsiteX2" fmla="*/ 5143500 w 5143500"/>
              <a:gd name="connsiteY2" fmla="*/ 5143500 h 5143500"/>
              <a:gd name="connsiteX3" fmla="*/ 0 w 5143500"/>
              <a:gd name="connsiteY3" fmla="*/ 5143500 h 5143500"/>
              <a:gd name="connsiteX4" fmla="*/ 0 w 5143500"/>
              <a:gd name="connsiteY4" fmla="*/ 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8254 w 5144754"/>
              <a:gd name="connsiteY0" fmla="*/ 2006600 h 5143500"/>
              <a:gd name="connsiteX1" fmla="*/ 5144754 w 5144754"/>
              <a:gd name="connsiteY1" fmla="*/ 0 h 5143500"/>
              <a:gd name="connsiteX2" fmla="*/ 5144754 w 5144754"/>
              <a:gd name="connsiteY2" fmla="*/ 5143500 h 5143500"/>
              <a:gd name="connsiteX3" fmla="*/ 1254 w 5144754"/>
              <a:gd name="connsiteY3" fmla="*/ 5143500 h 5143500"/>
              <a:gd name="connsiteX4" fmla="*/ 1398254 w 5144754"/>
              <a:gd name="connsiteY4" fmla="*/ 2006600 h 5143500"/>
              <a:gd name="connsiteX0" fmla="*/ 1419236 w 5165736"/>
              <a:gd name="connsiteY0" fmla="*/ 2006600 h 5143500"/>
              <a:gd name="connsiteX1" fmla="*/ 5165736 w 5165736"/>
              <a:gd name="connsiteY1" fmla="*/ 0 h 5143500"/>
              <a:gd name="connsiteX2" fmla="*/ 5165736 w 5165736"/>
              <a:gd name="connsiteY2" fmla="*/ 5143500 h 5143500"/>
              <a:gd name="connsiteX3" fmla="*/ 22236 w 5165736"/>
              <a:gd name="connsiteY3" fmla="*/ 5143500 h 5143500"/>
              <a:gd name="connsiteX4" fmla="*/ 1419236 w 5165736"/>
              <a:gd name="connsiteY4" fmla="*/ 2006600 h 5143500"/>
              <a:gd name="connsiteX0" fmla="*/ 1397354 w 5143854"/>
              <a:gd name="connsiteY0" fmla="*/ 2006600 h 5143500"/>
              <a:gd name="connsiteX1" fmla="*/ 5143854 w 5143854"/>
              <a:gd name="connsiteY1" fmla="*/ 0 h 5143500"/>
              <a:gd name="connsiteX2" fmla="*/ 5143854 w 5143854"/>
              <a:gd name="connsiteY2" fmla="*/ 5143500 h 5143500"/>
              <a:gd name="connsiteX3" fmla="*/ 354 w 5143854"/>
              <a:gd name="connsiteY3" fmla="*/ 5143500 h 5143500"/>
              <a:gd name="connsiteX4" fmla="*/ 1397354 w 5143854"/>
              <a:gd name="connsiteY4" fmla="*/ 2006600 h 5143500"/>
              <a:gd name="connsiteX0" fmla="*/ 1397354 w 5143854"/>
              <a:gd name="connsiteY0" fmla="*/ 2006600 h 5143500"/>
              <a:gd name="connsiteX1" fmla="*/ 5143854 w 5143854"/>
              <a:gd name="connsiteY1" fmla="*/ 0 h 5143500"/>
              <a:gd name="connsiteX2" fmla="*/ 5143854 w 5143854"/>
              <a:gd name="connsiteY2" fmla="*/ 5143500 h 5143500"/>
              <a:gd name="connsiteX3" fmla="*/ 354 w 5143854"/>
              <a:gd name="connsiteY3" fmla="*/ 5143500 h 5143500"/>
              <a:gd name="connsiteX4" fmla="*/ 1397354 w 5143854"/>
              <a:gd name="connsiteY4" fmla="*/ 2006600 h 5143500"/>
              <a:gd name="connsiteX0" fmla="*/ 1397354 w 5143854"/>
              <a:gd name="connsiteY0" fmla="*/ 2006600 h 5143500"/>
              <a:gd name="connsiteX1" fmla="*/ 5143854 w 5143854"/>
              <a:gd name="connsiteY1" fmla="*/ 0 h 5143500"/>
              <a:gd name="connsiteX2" fmla="*/ 5143854 w 5143854"/>
              <a:gd name="connsiteY2" fmla="*/ 5143500 h 5143500"/>
              <a:gd name="connsiteX3" fmla="*/ 354 w 5143854"/>
              <a:gd name="connsiteY3" fmla="*/ 5143500 h 5143500"/>
              <a:gd name="connsiteX4" fmla="*/ 1397354 w 5143854"/>
              <a:gd name="connsiteY4" fmla="*/ 2006600 h 5143500"/>
              <a:gd name="connsiteX0" fmla="*/ 1397354 w 5143854"/>
              <a:gd name="connsiteY0" fmla="*/ 2006600 h 5143500"/>
              <a:gd name="connsiteX1" fmla="*/ 5143854 w 5143854"/>
              <a:gd name="connsiteY1" fmla="*/ 0 h 5143500"/>
              <a:gd name="connsiteX2" fmla="*/ 5143854 w 5143854"/>
              <a:gd name="connsiteY2" fmla="*/ 5143500 h 5143500"/>
              <a:gd name="connsiteX3" fmla="*/ 354 w 5143854"/>
              <a:gd name="connsiteY3" fmla="*/ 5143500 h 5143500"/>
              <a:gd name="connsiteX4" fmla="*/ 1397354 w 5143854"/>
              <a:gd name="connsiteY4" fmla="*/ 2006600 h 5143500"/>
              <a:gd name="connsiteX0" fmla="*/ 1600466 w 5143766"/>
              <a:gd name="connsiteY0" fmla="*/ 2120900 h 5143500"/>
              <a:gd name="connsiteX1" fmla="*/ 5143766 w 5143766"/>
              <a:gd name="connsiteY1" fmla="*/ 0 h 5143500"/>
              <a:gd name="connsiteX2" fmla="*/ 5143766 w 5143766"/>
              <a:gd name="connsiteY2" fmla="*/ 5143500 h 5143500"/>
              <a:gd name="connsiteX3" fmla="*/ 266 w 5143766"/>
              <a:gd name="connsiteY3" fmla="*/ 5143500 h 5143500"/>
              <a:gd name="connsiteX4" fmla="*/ 1600466 w 5143766"/>
              <a:gd name="connsiteY4" fmla="*/ 2120900 h 5143500"/>
              <a:gd name="connsiteX0" fmla="*/ 1435433 w 5143833"/>
              <a:gd name="connsiteY0" fmla="*/ 2159000 h 5143500"/>
              <a:gd name="connsiteX1" fmla="*/ 5143833 w 5143833"/>
              <a:gd name="connsiteY1" fmla="*/ 0 h 5143500"/>
              <a:gd name="connsiteX2" fmla="*/ 5143833 w 5143833"/>
              <a:gd name="connsiteY2" fmla="*/ 5143500 h 5143500"/>
              <a:gd name="connsiteX3" fmla="*/ 333 w 5143833"/>
              <a:gd name="connsiteY3" fmla="*/ 5143500 h 5143500"/>
              <a:gd name="connsiteX4" fmla="*/ 1435433 w 5143833"/>
              <a:gd name="connsiteY4" fmla="*/ 2159000 h 5143500"/>
              <a:gd name="connsiteX0" fmla="*/ 1435433 w 5143833"/>
              <a:gd name="connsiteY0" fmla="*/ 2159000 h 5143500"/>
              <a:gd name="connsiteX1" fmla="*/ 5143833 w 5143833"/>
              <a:gd name="connsiteY1" fmla="*/ 0 h 5143500"/>
              <a:gd name="connsiteX2" fmla="*/ 5143833 w 5143833"/>
              <a:gd name="connsiteY2" fmla="*/ 5143500 h 5143500"/>
              <a:gd name="connsiteX3" fmla="*/ 333 w 5143833"/>
              <a:gd name="connsiteY3" fmla="*/ 5143500 h 5143500"/>
              <a:gd name="connsiteX4" fmla="*/ 1435433 w 5143833"/>
              <a:gd name="connsiteY4" fmla="*/ 2159000 h 5143500"/>
              <a:gd name="connsiteX0" fmla="*/ 1435433 w 5143833"/>
              <a:gd name="connsiteY0" fmla="*/ 2159000 h 5143500"/>
              <a:gd name="connsiteX1" fmla="*/ 5143833 w 5143833"/>
              <a:gd name="connsiteY1" fmla="*/ 0 h 5143500"/>
              <a:gd name="connsiteX2" fmla="*/ 5143833 w 5143833"/>
              <a:gd name="connsiteY2" fmla="*/ 5143500 h 5143500"/>
              <a:gd name="connsiteX3" fmla="*/ 1105234 w 5143833"/>
              <a:gd name="connsiteY3" fmla="*/ 5143500 h 5143500"/>
              <a:gd name="connsiteX4" fmla="*/ 333 w 5143833"/>
              <a:gd name="connsiteY4" fmla="*/ 5143500 h 5143500"/>
              <a:gd name="connsiteX5" fmla="*/ 1435433 w 5143833"/>
              <a:gd name="connsiteY5" fmla="*/ 2159000 h 5143500"/>
              <a:gd name="connsiteX0" fmla="*/ 487278 w 4195678"/>
              <a:gd name="connsiteY0" fmla="*/ 2159000 h 5168900"/>
              <a:gd name="connsiteX1" fmla="*/ 4195678 w 4195678"/>
              <a:gd name="connsiteY1" fmla="*/ 0 h 5168900"/>
              <a:gd name="connsiteX2" fmla="*/ 4195678 w 4195678"/>
              <a:gd name="connsiteY2" fmla="*/ 5143500 h 5168900"/>
              <a:gd name="connsiteX3" fmla="*/ 157079 w 4195678"/>
              <a:gd name="connsiteY3" fmla="*/ 5143500 h 5168900"/>
              <a:gd name="connsiteX4" fmla="*/ 144378 w 4195678"/>
              <a:gd name="connsiteY4" fmla="*/ 5168900 h 5168900"/>
              <a:gd name="connsiteX5" fmla="*/ 487278 w 4195678"/>
              <a:gd name="connsiteY5" fmla="*/ 2159000 h 5168900"/>
              <a:gd name="connsiteX0" fmla="*/ 928533 w 4636933"/>
              <a:gd name="connsiteY0" fmla="*/ 2159000 h 5181600"/>
              <a:gd name="connsiteX1" fmla="*/ 4636933 w 4636933"/>
              <a:gd name="connsiteY1" fmla="*/ 0 h 5181600"/>
              <a:gd name="connsiteX2" fmla="*/ 4636933 w 4636933"/>
              <a:gd name="connsiteY2" fmla="*/ 5143500 h 5181600"/>
              <a:gd name="connsiteX3" fmla="*/ 598334 w 4636933"/>
              <a:gd name="connsiteY3" fmla="*/ 5143500 h 5181600"/>
              <a:gd name="connsiteX4" fmla="*/ 1433 w 4636933"/>
              <a:gd name="connsiteY4" fmla="*/ 5181600 h 5181600"/>
              <a:gd name="connsiteX5" fmla="*/ 928533 w 4636933"/>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5" fmla="*/ 927100 w 4635500"/>
              <a:gd name="connsiteY5" fmla="*/ 2159000 h 5143500"/>
              <a:gd name="connsiteX0" fmla="*/ 0 w 4635500"/>
              <a:gd name="connsiteY0" fmla="*/ 51435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0" fmla="*/ 0 w 4635500"/>
              <a:gd name="connsiteY0" fmla="*/ 51435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0" fmla="*/ 0 w 4635500"/>
              <a:gd name="connsiteY0" fmla="*/ 5145147 h 5145147"/>
              <a:gd name="connsiteX1" fmla="*/ 4635500 w 4635500"/>
              <a:gd name="connsiteY1" fmla="*/ 1647 h 5145147"/>
              <a:gd name="connsiteX2" fmla="*/ 4635500 w 4635500"/>
              <a:gd name="connsiteY2" fmla="*/ 5145147 h 5145147"/>
              <a:gd name="connsiteX3" fmla="*/ 596901 w 4635500"/>
              <a:gd name="connsiteY3" fmla="*/ 5145147 h 5145147"/>
              <a:gd name="connsiteX4" fmla="*/ 0 w 4635500"/>
              <a:gd name="connsiteY4" fmla="*/ 5145147 h 5145147"/>
              <a:gd name="connsiteX0" fmla="*/ 0 w 4635500"/>
              <a:gd name="connsiteY0" fmla="*/ 51435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0" fmla="*/ 0 w 4635500"/>
              <a:gd name="connsiteY0" fmla="*/ 51435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0" fmla="*/ 0 w 4457700"/>
              <a:gd name="connsiteY0" fmla="*/ 5143500 h 5143500"/>
              <a:gd name="connsiteX1" fmla="*/ 4457700 w 4457700"/>
              <a:gd name="connsiteY1" fmla="*/ 0 h 5143500"/>
              <a:gd name="connsiteX2" fmla="*/ 4457700 w 4457700"/>
              <a:gd name="connsiteY2" fmla="*/ 5143500 h 5143500"/>
              <a:gd name="connsiteX3" fmla="*/ 419101 w 4457700"/>
              <a:gd name="connsiteY3" fmla="*/ 5143500 h 5143500"/>
              <a:gd name="connsiteX4" fmla="*/ 0 w 4457700"/>
              <a:gd name="connsiteY4" fmla="*/ 5143500 h 5143500"/>
              <a:gd name="connsiteX0" fmla="*/ 0 w 4610100"/>
              <a:gd name="connsiteY0" fmla="*/ 5156200 h 5156200"/>
              <a:gd name="connsiteX1" fmla="*/ 4610100 w 4610100"/>
              <a:gd name="connsiteY1" fmla="*/ 0 h 5156200"/>
              <a:gd name="connsiteX2" fmla="*/ 4610100 w 4610100"/>
              <a:gd name="connsiteY2" fmla="*/ 5143500 h 5156200"/>
              <a:gd name="connsiteX3" fmla="*/ 571501 w 4610100"/>
              <a:gd name="connsiteY3" fmla="*/ 5143500 h 5156200"/>
              <a:gd name="connsiteX4" fmla="*/ 0 w 4610100"/>
              <a:gd name="connsiteY4" fmla="*/ 5156200 h 5156200"/>
              <a:gd name="connsiteX0" fmla="*/ 0 w 4610100"/>
              <a:gd name="connsiteY0" fmla="*/ 5156200 h 5156200"/>
              <a:gd name="connsiteX1" fmla="*/ 4610100 w 4610100"/>
              <a:gd name="connsiteY1" fmla="*/ 0 h 5156200"/>
              <a:gd name="connsiteX2" fmla="*/ 4610100 w 4610100"/>
              <a:gd name="connsiteY2" fmla="*/ 5143500 h 5156200"/>
              <a:gd name="connsiteX3" fmla="*/ 571501 w 4610100"/>
              <a:gd name="connsiteY3" fmla="*/ 5143500 h 5156200"/>
              <a:gd name="connsiteX4" fmla="*/ 0 w 4610100"/>
              <a:gd name="connsiteY4" fmla="*/ 5156200 h 5156200"/>
              <a:gd name="connsiteX0" fmla="*/ 0 w 4610100"/>
              <a:gd name="connsiteY0" fmla="*/ 5156200 h 5156200"/>
              <a:gd name="connsiteX1" fmla="*/ 4610100 w 4610100"/>
              <a:gd name="connsiteY1" fmla="*/ 0 h 5156200"/>
              <a:gd name="connsiteX2" fmla="*/ 4610100 w 4610100"/>
              <a:gd name="connsiteY2" fmla="*/ 5143500 h 5156200"/>
              <a:gd name="connsiteX3" fmla="*/ 571501 w 4610100"/>
              <a:gd name="connsiteY3" fmla="*/ 5143500 h 5156200"/>
              <a:gd name="connsiteX4" fmla="*/ 0 w 4610100"/>
              <a:gd name="connsiteY4" fmla="*/ 5156200 h 5156200"/>
              <a:gd name="connsiteX0" fmla="*/ 0 w 4610100"/>
              <a:gd name="connsiteY0" fmla="*/ 5130800 h 5143500"/>
              <a:gd name="connsiteX1" fmla="*/ 4610100 w 4610100"/>
              <a:gd name="connsiteY1" fmla="*/ 0 h 5143500"/>
              <a:gd name="connsiteX2" fmla="*/ 4610100 w 4610100"/>
              <a:gd name="connsiteY2" fmla="*/ 5143500 h 5143500"/>
              <a:gd name="connsiteX3" fmla="*/ 571501 w 4610100"/>
              <a:gd name="connsiteY3" fmla="*/ 5143500 h 5143500"/>
              <a:gd name="connsiteX4" fmla="*/ 0 w 4610100"/>
              <a:gd name="connsiteY4" fmla="*/ 51308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100" h="5143500">
                <a:moveTo>
                  <a:pt x="0" y="5130800"/>
                </a:moveTo>
                <a:cubicBezTo>
                  <a:pt x="215900" y="1136650"/>
                  <a:pt x="3012017" y="38100"/>
                  <a:pt x="4610100" y="0"/>
                </a:cubicBezTo>
                <a:lnTo>
                  <a:pt x="4610100" y="5143500"/>
                </a:lnTo>
                <a:lnTo>
                  <a:pt x="571501" y="5143500"/>
                </a:lnTo>
                <a:lnTo>
                  <a:pt x="0" y="5130800"/>
                </a:lnTo>
                <a:close/>
              </a:path>
            </a:pathLst>
          </a:custGeom>
          <a:solidFill>
            <a:srgbClr val="4F2D7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4" name="Straight Connector 13"/>
          <p:cNvCxnSpPr/>
          <p:nvPr userDrawn="1"/>
        </p:nvCxnSpPr>
        <p:spPr>
          <a:xfrm>
            <a:off x="476251" y="3252955"/>
            <a:ext cx="1562099" cy="0"/>
          </a:xfrm>
          <a:prstGeom prst="line">
            <a:avLst/>
          </a:prstGeom>
          <a:ln w="28575" cap="rnd">
            <a:solidFill>
              <a:srgbClr val="4F2D7F"/>
            </a:solidFill>
          </a:ln>
        </p:spPr>
        <p:style>
          <a:lnRef idx="1">
            <a:schemeClr val="accent1"/>
          </a:lnRef>
          <a:fillRef idx="0">
            <a:schemeClr val="accent1"/>
          </a:fillRef>
          <a:effectRef idx="0">
            <a:schemeClr val="accent1"/>
          </a:effectRef>
          <a:fontRef idx="minor">
            <a:schemeClr val="tx1"/>
          </a:fontRef>
        </p:style>
      </p:cxnSp>
      <p:sp>
        <p:nvSpPr>
          <p:cNvPr id="15" name="Title Placeholder"/>
          <p:cNvSpPr>
            <a:spLocks noGrp="1" noChangeArrowheads="1"/>
          </p:cNvSpPr>
          <p:nvPr>
            <p:ph type="ctrTitle" sz="quarter"/>
          </p:nvPr>
        </p:nvSpPr>
        <p:spPr>
          <a:xfrm>
            <a:off x="457200" y="1473361"/>
            <a:ext cx="5448300" cy="1116967"/>
          </a:xfrm>
        </p:spPr>
        <p:txBody>
          <a:bodyPr anchor="b"/>
          <a:lstStyle>
            <a:lvl1pPr>
              <a:defRPr sz="3600">
                <a:solidFill>
                  <a:srgbClr val="4F2D7F"/>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Text Placeholder 10"/>
          <p:cNvSpPr>
            <a:spLocks noGrp="1"/>
          </p:cNvSpPr>
          <p:nvPr>
            <p:ph type="body" sz="quarter" idx="10" hasCustomPrompt="1"/>
          </p:nvPr>
        </p:nvSpPr>
        <p:spPr>
          <a:xfrm>
            <a:off x="457200" y="2590328"/>
            <a:ext cx="5448300" cy="266548"/>
          </a:xfrm>
        </p:spPr>
        <p:txBody>
          <a:bodyPr anchor="b"/>
          <a:lstStyle>
            <a:lvl1pPr marL="0" indent="0">
              <a:buNone/>
              <a:defRPr sz="1800" b="0" i="0">
                <a:latin typeface="Arial" panose="020B0604020202020204" pitchFamily="34" charset="0"/>
                <a:ea typeface="Arial" panose="020B0604020202020204" pitchFamily="34" charset="0"/>
                <a:cs typeface="Arial" panose="020B0604020202020204" pitchFamily="34" charset="0"/>
              </a:defRPr>
            </a:lvl1pPr>
          </a:lstStyle>
          <a:p>
            <a:pPr lvl="0"/>
            <a:r>
              <a:rPr lang="en-US" dirty="0"/>
              <a:t>Secondary header here</a:t>
            </a:r>
          </a:p>
        </p:txBody>
      </p:sp>
      <p:sp>
        <p:nvSpPr>
          <p:cNvPr id="18" name="Content Placeholder 12"/>
          <p:cNvSpPr>
            <a:spLocks noGrp="1"/>
          </p:cNvSpPr>
          <p:nvPr>
            <p:ph sz="quarter" idx="11" hasCustomPrompt="1"/>
          </p:nvPr>
        </p:nvSpPr>
        <p:spPr>
          <a:xfrm>
            <a:off x="457200" y="3346666"/>
            <a:ext cx="3882571" cy="508907"/>
          </a:xfrm>
        </p:spPr>
        <p:txBody>
          <a:bodyPr/>
          <a:lstStyle>
            <a:lvl1pPr marL="0" indent="0">
              <a:buNone/>
              <a:defRPr sz="13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DATE TO GO HERE</a:t>
            </a:r>
          </a:p>
        </p:txBody>
      </p:sp>
    </p:spTree>
    <p:extLst>
      <p:ext uri="{BB962C8B-B14F-4D97-AF65-F5344CB8AC3E}">
        <p14:creationId xmlns:p14="http://schemas.microsoft.com/office/powerpoint/2010/main" val="14859953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illustratio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1819" t="21009" r="29137" b="12407"/>
          <a:stretch/>
        </p:blipFill>
        <p:spPr>
          <a:xfrm>
            <a:off x="4960937" y="-63500"/>
            <a:ext cx="4310063" cy="4912255"/>
          </a:xfrm>
          <a:prstGeom prst="rect">
            <a:avLst/>
          </a:prstGeom>
        </p:spPr>
      </p:pic>
      <p:pic>
        <p:nvPicPr>
          <p:cNvPr id="8" name="GTLogo" descr="GTlogo-horizontal-strapline-RGB.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9958" r="44795"/>
          <a:stretch/>
        </p:blipFill>
        <p:spPr>
          <a:xfrm>
            <a:off x="457200" y="361950"/>
            <a:ext cx="2133690" cy="456598"/>
          </a:xfrm>
          <a:prstGeom prst="rect">
            <a:avLst/>
          </a:prstGeom>
        </p:spPr>
      </p:pic>
      <p:cxnSp>
        <p:nvCxnSpPr>
          <p:cNvPr id="14" name="Straight Connector 13"/>
          <p:cNvCxnSpPr/>
          <p:nvPr userDrawn="1"/>
        </p:nvCxnSpPr>
        <p:spPr>
          <a:xfrm>
            <a:off x="476251" y="3252955"/>
            <a:ext cx="1562099" cy="0"/>
          </a:xfrm>
          <a:prstGeom prst="line">
            <a:avLst/>
          </a:prstGeom>
          <a:ln w="28575" cap="rnd">
            <a:solidFill>
              <a:srgbClr val="4F2D7F"/>
            </a:solidFill>
          </a:ln>
        </p:spPr>
        <p:style>
          <a:lnRef idx="1">
            <a:schemeClr val="accent1"/>
          </a:lnRef>
          <a:fillRef idx="0">
            <a:schemeClr val="accent1"/>
          </a:fillRef>
          <a:effectRef idx="0">
            <a:schemeClr val="accent1"/>
          </a:effectRef>
          <a:fontRef idx="minor">
            <a:schemeClr val="tx1"/>
          </a:fontRef>
        </p:style>
      </p:cxnSp>
      <p:sp>
        <p:nvSpPr>
          <p:cNvPr id="15" name="Title Placeholder"/>
          <p:cNvSpPr>
            <a:spLocks noGrp="1" noChangeArrowheads="1"/>
          </p:cNvSpPr>
          <p:nvPr>
            <p:ph type="ctrTitle" sz="quarter"/>
          </p:nvPr>
        </p:nvSpPr>
        <p:spPr>
          <a:xfrm>
            <a:off x="457200" y="1473361"/>
            <a:ext cx="5448300" cy="1116967"/>
          </a:xfrm>
        </p:spPr>
        <p:txBody>
          <a:bodyPr anchor="b"/>
          <a:lstStyle>
            <a:lvl1pPr>
              <a:defRPr sz="3600">
                <a:solidFill>
                  <a:srgbClr val="4F2D7F"/>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6" name="Text Placeholder 10"/>
          <p:cNvSpPr>
            <a:spLocks noGrp="1"/>
          </p:cNvSpPr>
          <p:nvPr>
            <p:ph type="body" sz="quarter" idx="10" hasCustomPrompt="1"/>
          </p:nvPr>
        </p:nvSpPr>
        <p:spPr>
          <a:xfrm>
            <a:off x="457200" y="2590328"/>
            <a:ext cx="5448300" cy="266548"/>
          </a:xfrm>
        </p:spPr>
        <p:txBody>
          <a:bodyPr anchor="b"/>
          <a:lstStyle>
            <a:lvl1pPr marL="0" indent="0">
              <a:buNone/>
              <a:defRPr sz="1800" b="0" i="0">
                <a:latin typeface="Arial" panose="020B0604020202020204" pitchFamily="34" charset="0"/>
                <a:ea typeface="Arial" panose="020B0604020202020204" pitchFamily="34" charset="0"/>
                <a:cs typeface="Arial" panose="020B0604020202020204" pitchFamily="34" charset="0"/>
              </a:defRPr>
            </a:lvl1pPr>
          </a:lstStyle>
          <a:p>
            <a:pPr lvl="0"/>
            <a:r>
              <a:rPr lang="en-US" dirty="0"/>
              <a:t>Secondary header here</a:t>
            </a:r>
          </a:p>
        </p:txBody>
      </p:sp>
      <p:sp>
        <p:nvSpPr>
          <p:cNvPr id="17" name="Content Placeholder 12"/>
          <p:cNvSpPr>
            <a:spLocks noGrp="1"/>
          </p:cNvSpPr>
          <p:nvPr>
            <p:ph sz="quarter" idx="11" hasCustomPrompt="1"/>
          </p:nvPr>
        </p:nvSpPr>
        <p:spPr>
          <a:xfrm>
            <a:off x="457200" y="3346666"/>
            <a:ext cx="3882571" cy="508907"/>
          </a:xfrm>
        </p:spPr>
        <p:txBody>
          <a:bodyPr/>
          <a:lstStyle>
            <a:lvl1pPr marL="0" indent="0">
              <a:buNone/>
              <a:defRPr sz="13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DATE TO GO HERE</a:t>
            </a:r>
          </a:p>
        </p:txBody>
      </p:sp>
    </p:spTree>
    <p:extLst>
      <p:ext uri="{BB962C8B-B14F-4D97-AF65-F5344CB8AC3E}">
        <p14:creationId xmlns:p14="http://schemas.microsoft.com/office/powerpoint/2010/main" val="30407056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proposal illustration">
    <p:spTree>
      <p:nvGrpSpPr>
        <p:cNvPr id="1" name=""/>
        <p:cNvGrpSpPr/>
        <p:nvPr/>
      </p:nvGrpSpPr>
      <p:grpSpPr>
        <a:xfrm>
          <a:off x="0" y="0"/>
          <a:ext cx="0" cy="0"/>
          <a:chOff x="0" y="0"/>
          <a:chExt cx="0" cy="0"/>
        </a:xfrm>
      </p:grpSpPr>
      <p:pic>
        <p:nvPicPr>
          <p:cNvPr id="8"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76251" y="346184"/>
            <a:ext cx="2133690" cy="456598"/>
          </a:xfrm>
          <a:prstGeom prst="rect">
            <a:avLst/>
          </a:prstGeom>
        </p:spPr>
      </p:pic>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l="6078" t="9413" r="9611" b="10858"/>
          <a:stretch/>
        </p:blipFill>
        <p:spPr>
          <a:xfrm>
            <a:off x="5076972" y="-965031"/>
            <a:ext cx="5109910" cy="4883888"/>
          </a:xfrm>
          <a:prstGeom prst="rect">
            <a:avLst/>
          </a:prstGeom>
        </p:spPr>
      </p:pic>
      <p:cxnSp>
        <p:nvCxnSpPr>
          <p:cNvPr id="15" name="Straight Connector 14"/>
          <p:cNvCxnSpPr/>
          <p:nvPr userDrawn="1"/>
        </p:nvCxnSpPr>
        <p:spPr>
          <a:xfrm>
            <a:off x="476251" y="3252955"/>
            <a:ext cx="1562099" cy="0"/>
          </a:xfrm>
          <a:prstGeom prst="line">
            <a:avLst/>
          </a:prstGeom>
          <a:ln w="28575" cap="rnd">
            <a:solidFill>
              <a:srgbClr val="4F2D7F"/>
            </a:solidFill>
          </a:ln>
        </p:spPr>
        <p:style>
          <a:lnRef idx="1">
            <a:schemeClr val="accent1"/>
          </a:lnRef>
          <a:fillRef idx="0">
            <a:schemeClr val="accent1"/>
          </a:fillRef>
          <a:effectRef idx="0">
            <a:schemeClr val="accent1"/>
          </a:effectRef>
          <a:fontRef idx="minor">
            <a:schemeClr val="tx1"/>
          </a:fontRef>
        </p:style>
      </p:cxnSp>
      <p:sp>
        <p:nvSpPr>
          <p:cNvPr id="16" name="Title Placeholder"/>
          <p:cNvSpPr>
            <a:spLocks noGrp="1" noChangeArrowheads="1"/>
          </p:cNvSpPr>
          <p:nvPr>
            <p:ph type="ctrTitle" sz="quarter"/>
          </p:nvPr>
        </p:nvSpPr>
        <p:spPr>
          <a:xfrm>
            <a:off x="457200" y="1473361"/>
            <a:ext cx="5448300" cy="1116967"/>
          </a:xfrm>
        </p:spPr>
        <p:txBody>
          <a:bodyPr anchor="b"/>
          <a:lstStyle>
            <a:lvl1pPr>
              <a:defRPr sz="3600">
                <a:solidFill>
                  <a:srgbClr val="4F2D7F"/>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Text Placeholder 10"/>
          <p:cNvSpPr>
            <a:spLocks noGrp="1"/>
          </p:cNvSpPr>
          <p:nvPr>
            <p:ph type="body" sz="quarter" idx="10" hasCustomPrompt="1"/>
          </p:nvPr>
        </p:nvSpPr>
        <p:spPr>
          <a:xfrm>
            <a:off x="457200" y="2590328"/>
            <a:ext cx="5448300" cy="266548"/>
          </a:xfrm>
        </p:spPr>
        <p:txBody>
          <a:bodyPr anchor="b"/>
          <a:lstStyle>
            <a:lvl1pPr marL="0" indent="0">
              <a:buNone/>
              <a:defRPr sz="1800" b="0" i="0">
                <a:latin typeface="Arial" panose="020B0604020202020204" pitchFamily="34" charset="0"/>
                <a:ea typeface="Arial" panose="020B0604020202020204" pitchFamily="34" charset="0"/>
                <a:cs typeface="Arial" panose="020B0604020202020204" pitchFamily="34" charset="0"/>
              </a:defRPr>
            </a:lvl1pPr>
          </a:lstStyle>
          <a:p>
            <a:pPr lvl="0"/>
            <a:r>
              <a:rPr lang="en-US" dirty="0"/>
              <a:t>Secondary header here</a:t>
            </a:r>
          </a:p>
        </p:txBody>
      </p:sp>
      <p:sp>
        <p:nvSpPr>
          <p:cNvPr id="18" name="Content Placeholder 12"/>
          <p:cNvSpPr>
            <a:spLocks noGrp="1"/>
          </p:cNvSpPr>
          <p:nvPr>
            <p:ph sz="quarter" idx="11" hasCustomPrompt="1"/>
          </p:nvPr>
        </p:nvSpPr>
        <p:spPr>
          <a:xfrm>
            <a:off x="457200" y="3346666"/>
            <a:ext cx="3882571" cy="508907"/>
          </a:xfrm>
        </p:spPr>
        <p:txBody>
          <a:bodyPr/>
          <a:lstStyle>
            <a:lvl1pPr marL="0" indent="0">
              <a:buNone/>
              <a:defRPr sz="13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DATE TO GO HERE</a:t>
            </a: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and curved photo">
    <p:spTree>
      <p:nvGrpSpPr>
        <p:cNvPr id="1" name=""/>
        <p:cNvGrpSpPr/>
        <p:nvPr/>
      </p:nvGrpSpPr>
      <p:grpSpPr>
        <a:xfrm>
          <a:off x="0" y="0"/>
          <a:ext cx="0" cy="0"/>
          <a:chOff x="0" y="0"/>
          <a:chExt cx="0" cy="0"/>
        </a:xfrm>
      </p:grpSpPr>
      <p:pic>
        <p:nvPicPr>
          <p:cNvPr id="12"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361950"/>
            <a:ext cx="2133690" cy="456598"/>
          </a:xfrm>
          <a:prstGeom prst="rect">
            <a:avLst/>
          </a:prstGeom>
        </p:spPr>
      </p:pic>
      <p:sp>
        <p:nvSpPr>
          <p:cNvPr id="10" name="Picture Placeholder 14"/>
          <p:cNvSpPr>
            <a:spLocks noGrp="1"/>
          </p:cNvSpPr>
          <p:nvPr>
            <p:ph type="pic" sz="quarter" idx="12" hasCustomPrompt="1"/>
          </p:nvPr>
        </p:nvSpPr>
        <p:spPr>
          <a:xfrm>
            <a:off x="4500563" y="1203325"/>
            <a:ext cx="4643438" cy="3940175"/>
          </a:xfrm>
          <a:custGeom>
            <a:avLst/>
            <a:gdLst>
              <a:gd name="connsiteX0" fmla="*/ 0 w 5751512"/>
              <a:gd name="connsiteY0" fmla="*/ 0 h 3946525"/>
              <a:gd name="connsiteX1" fmla="*/ 5751512 w 5751512"/>
              <a:gd name="connsiteY1" fmla="*/ 0 h 3946525"/>
              <a:gd name="connsiteX2" fmla="*/ 5751512 w 5751512"/>
              <a:gd name="connsiteY2" fmla="*/ 3946525 h 3946525"/>
              <a:gd name="connsiteX3" fmla="*/ 0 w 5751512"/>
              <a:gd name="connsiteY3" fmla="*/ 3946525 h 3946525"/>
              <a:gd name="connsiteX4" fmla="*/ 0 w 5751512"/>
              <a:gd name="connsiteY4" fmla="*/ 0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185476 w 5898059"/>
              <a:gd name="connsiteY0" fmla="*/ 145143 h 3946525"/>
              <a:gd name="connsiteX1" fmla="*/ 5898059 w 5898059"/>
              <a:gd name="connsiteY1" fmla="*/ 0 h 3946525"/>
              <a:gd name="connsiteX2" fmla="*/ 5898059 w 5898059"/>
              <a:gd name="connsiteY2" fmla="*/ 3946525 h 3946525"/>
              <a:gd name="connsiteX3" fmla="*/ 146547 w 5898059"/>
              <a:gd name="connsiteY3" fmla="*/ 3946525 h 3946525"/>
              <a:gd name="connsiteX4" fmla="*/ 3185476 w 5898059"/>
              <a:gd name="connsiteY4" fmla="*/ 145143 h 3946525"/>
              <a:gd name="connsiteX0" fmla="*/ 4670912 w 5779285"/>
              <a:gd name="connsiteY0" fmla="*/ 53092 h 3946525"/>
              <a:gd name="connsiteX1" fmla="*/ 5779285 w 5779285"/>
              <a:gd name="connsiteY1" fmla="*/ 0 h 3946525"/>
              <a:gd name="connsiteX2" fmla="*/ 5779285 w 5779285"/>
              <a:gd name="connsiteY2" fmla="*/ 3946525 h 3946525"/>
              <a:gd name="connsiteX3" fmla="*/ 27773 w 5779285"/>
              <a:gd name="connsiteY3" fmla="*/ 3946525 h 3946525"/>
              <a:gd name="connsiteX4" fmla="*/ 4670912 w 5779285"/>
              <a:gd name="connsiteY4" fmla="*/ 53092 h 3946525"/>
              <a:gd name="connsiteX0" fmla="*/ 4661785 w 5770158"/>
              <a:gd name="connsiteY0" fmla="*/ 53092 h 3946525"/>
              <a:gd name="connsiteX1" fmla="*/ 5770158 w 5770158"/>
              <a:gd name="connsiteY1" fmla="*/ 0 h 3946525"/>
              <a:gd name="connsiteX2" fmla="*/ 5770158 w 5770158"/>
              <a:gd name="connsiteY2" fmla="*/ 3946525 h 3946525"/>
              <a:gd name="connsiteX3" fmla="*/ 18646 w 5770158"/>
              <a:gd name="connsiteY3" fmla="*/ 3946525 h 3946525"/>
              <a:gd name="connsiteX4" fmla="*/ 4661785 w 5770158"/>
              <a:gd name="connsiteY4" fmla="*/ 53092 h 3946525"/>
              <a:gd name="connsiteX0" fmla="*/ 4357352 w 5465725"/>
              <a:gd name="connsiteY0" fmla="*/ 53092 h 3946525"/>
              <a:gd name="connsiteX1" fmla="*/ 5465725 w 5465725"/>
              <a:gd name="connsiteY1" fmla="*/ 0 h 3946525"/>
              <a:gd name="connsiteX2" fmla="*/ 5465725 w 5465725"/>
              <a:gd name="connsiteY2" fmla="*/ 3946525 h 3946525"/>
              <a:gd name="connsiteX3" fmla="*/ 21686 w 5465725"/>
              <a:gd name="connsiteY3" fmla="*/ 3936297 h 3946525"/>
              <a:gd name="connsiteX4" fmla="*/ 4357352 w 5465725"/>
              <a:gd name="connsiteY4" fmla="*/ 53092 h 3946525"/>
              <a:gd name="connsiteX0" fmla="*/ 4337247 w 5445620"/>
              <a:gd name="connsiteY0" fmla="*/ 53092 h 3946525"/>
              <a:gd name="connsiteX1" fmla="*/ 5445620 w 5445620"/>
              <a:gd name="connsiteY1" fmla="*/ 0 h 3946525"/>
              <a:gd name="connsiteX2" fmla="*/ 5445620 w 5445620"/>
              <a:gd name="connsiteY2" fmla="*/ 3946525 h 3946525"/>
              <a:gd name="connsiteX3" fmla="*/ 1581 w 5445620"/>
              <a:gd name="connsiteY3" fmla="*/ 3936297 h 3946525"/>
              <a:gd name="connsiteX4" fmla="*/ 4337247 w 5445620"/>
              <a:gd name="connsiteY4" fmla="*/ 53092 h 3946525"/>
              <a:gd name="connsiteX0" fmla="*/ 5432791 w 5444953"/>
              <a:gd name="connsiteY0" fmla="*/ 12179 h 3946525"/>
              <a:gd name="connsiteX1" fmla="*/ 5444953 w 5444953"/>
              <a:gd name="connsiteY1" fmla="*/ 0 h 3946525"/>
              <a:gd name="connsiteX2" fmla="*/ 5444953 w 5444953"/>
              <a:gd name="connsiteY2" fmla="*/ 3946525 h 3946525"/>
              <a:gd name="connsiteX3" fmla="*/ 914 w 5444953"/>
              <a:gd name="connsiteY3" fmla="*/ 3936297 h 3946525"/>
              <a:gd name="connsiteX4" fmla="*/ 5432791 w 5444953"/>
              <a:gd name="connsiteY4" fmla="*/ 12179 h 3946525"/>
              <a:gd name="connsiteX0" fmla="*/ 5433450 w 5445612"/>
              <a:gd name="connsiteY0" fmla="*/ 12179 h 3946525"/>
              <a:gd name="connsiteX1" fmla="*/ 5445612 w 5445612"/>
              <a:gd name="connsiteY1" fmla="*/ 0 h 3946525"/>
              <a:gd name="connsiteX2" fmla="*/ 5445612 w 5445612"/>
              <a:gd name="connsiteY2" fmla="*/ 3946525 h 3946525"/>
              <a:gd name="connsiteX3" fmla="*/ 1573 w 5445612"/>
              <a:gd name="connsiteY3" fmla="*/ 3936297 h 3946525"/>
              <a:gd name="connsiteX4" fmla="*/ 5433450 w 5445612"/>
              <a:gd name="connsiteY4" fmla="*/ 12179 h 3946525"/>
              <a:gd name="connsiteX0" fmla="*/ 5380034 w 5392196"/>
              <a:gd name="connsiteY0" fmla="*/ 12179 h 3946525"/>
              <a:gd name="connsiteX1" fmla="*/ 5392196 w 5392196"/>
              <a:gd name="connsiteY1" fmla="*/ 0 h 3946525"/>
              <a:gd name="connsiteX2" fmla="*/ 5392196 w 5392196"/>
              <a:gd name="connsiteY2" fmla="*/ 3946525 h 3946525"/>
              <a:gd name="connsiteX3" fmla="*/ 1631 w 5392196"/>
              <a:gd name="connsiteY3" fmla="*/ 3721509 h 3946525"/>
              <a:gd name="connsiteX4" fmla="*/ 5380034 w 5392196"/>
              <a:gd name="connsiteY4" fmla="*/ 12179 h 3946525"/>
              <a:gd name="connsiteX0" fmla="*/ 5420095 w 5432257"/>
              <a:gd name="connsiteY0" fmla="*/ 12179 h 3946525"/>
              <a:gd name="connsiteX1" fmla="*/ 5432257 w 5432257"/>
              <a:gd name="connsiteY1" fmla="*/ 0 h 3946525"/>
              <a:gd name="connsiteX2" fmla="*/ 5432257 w 5432257"/>
              <a:gd name="connsiteY2" fmla="*/ 3946525 h 3946525"/>
              <a:gd name="connsiteX3" fmla="*/ 1587 w 5432257"/>
              <a:gd name="connsiteY3" fmla="*/ 3946525 h 3946525"/>
              <a:gd name="connsiteX4" fmla="*/ 5420095 w 5432257"/>
              <a:gd name="connsiteY4" fmla="*/ 12179 h 394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2257" h="3946525">
                <a:moveTo>
                  <a:pt x="5420095" y="12179"/>
                </a:moveTo>
                <a:lnTo>
                  <a:pt x="5432257" y="0"/>
                </a:lnTo>
                <a:lnTo>
                  <a:pt x="5432257" y="3946525"/>
                </a:lnTo>
                <a:lnTo>
                  <a:pt x="1587" y="3946525"/>
                </a:lnTo>
                <a:cubicBezTo>
                  <a:pt x="-54433" y="2778027"/>
                  <a:pt x="1365326" y="84261"/>
                  <a:pt x="5420095" y="12179"/>
                </a:cubicBezTo>
                <a:close/>
              </a:path>
            </a:pathLst>
          </a:custGeom>
        </p:spPr>
        <p:txBody>
          <a:bodyPr vert="horz"/>
          <a:lstStyle>
            <a:lvl1pPr marL="0" indent="0" algn="r">
              <a:buNone/>
              <a:defRPr sz="1300">
                <a:solidFill>
                  <a:srgbClr val="00A7B5"/>
                </a:solidFill>
              </a:defRPr>
            </a:lvl1pPr>
          </a:lstStyle>
          <a:p>
            <a:r>
              <a:rPr lang="en-US" dirty="0"/>
              <a:t>Click icon to add photo</a:t>
            </a:r>
          </a:p>
        </p:txBody>
      </p:sp>
      <p:cxnSp>
        <p:nvCxnSpPr>
          <p:cNvPr id="14" name="Straight Connector 13"/>
          <p:cNvCxnSpPr/>
          <p:nvPr userDrawn="1"/>
        </p:nvCxnSpPr>
        <p:spPr>
          <a:xfrm>
            <a:off x="476251" y="3412613"/>
            <a:ext cx="1562099" cy="0"/>
          </a:xfrm>
          <a:prstGeom prst="line">
            <a:avLst/>
          </a:prstGeom>
          <a:ln w="28575" cap="rnd">
            <a:solidFill>
              <a:srgbClr val="4F2D7F"/>
            </a:solidFill>
          </a:ln>
        </p:spPr>
        <p:style>
          <a:lnRef idx="1">
            <a:schemeClr val="accent1"/>
          </a:lnRef>
          <a:fillRef idx="0">
            <a:schemeClr val="accent1"/>
          </a:fillRef>
          <a:effectRef idx="0">
            <a:schemeClr val="accent1"/>
          </a:effectRef>
          <a:fontRef idx="minor">
            <a:schemeClr val="tx1"/>
          </a:fontRef>
        </p:style>
      </p:cxnSp>
      <p:sp>
        <p:nvSpPr>
          <p:cNvPr id="8" name="Text Placeholder 2"/>
          <p:cNvSpPr>
            <a:spLocks noGrp="1"/>
          </p:cNvSpPr>
          <p:nvPr>
            <p:ph type="body" idx="1" hasCustomPrompt="1"/>
          </p:nvPr>
        </p:nvSpPr>
        <p:spPr>
          <a:xfrm>
            <a:off x="457200" y="3470301"/>
            <a:ext cx="6134100" cy="714890"/>
          </a:xfrm>
        </p:spPr>
        <p:txBody>
          <a:bodyPr anchor="b"/>
          <a:lstStyle>
            <a:lvl1pPr marL="0" indent="0">
              <a:lnSpc>
                <a:spcPct val="90000"/>
              </a:lnSpc>
              <a:buNone/>
              <a:defRPr lang="en-US" sz="2700" b="1" i="0" kern="1200" baseline="0" dirty="0" smtClean="0">
                <a:solidFill>
                  <a:srgbClr val="4F2D7F"/>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Primary header here</a:t>
            </a:r>
          </a:p>
        </p:txBody>
      </p:sp>
      <p:sp>
        <p:nvSpPr>
          <p:cNvPr id="18" name="Text Placeholder 8"/>
          <p:cNvSpPr>
            <a:spLocks noGrp="1"/>
          </p:cNvSpPr>
          <p:nvPr>
            <p:ph type="body" sz="quarter" idx="11" hasCustomPrompt="1"/>
          </p:nvPr>
        </p:nvSpPr>
        <p:spPr>
          <a:xfrm>
            <a:off x="457200" y="4192749"/>
            <a:ext cx="6134100" cy="279642"/>
          </a:xfrm>
        </p:spPr>
        <p:txBody>
          <a:bodyPr anchor="b"/>
          <a:lstStyle>
            <a:lvl1pPr marL="0" indent="0">
              <a:buNone/>
              <a:defRPr sz="1800" b="0" i="0">
                <a:latin typeface="Arial" panose="020B0604020202020204" pitchFamily="34" charset="0"/>
                <a:ea typeface="Arial" panose="020B0604020202020204" pitchFamily="34" charset="0"/>
                <a:cs typeface="Arial" panose="020B0604020202020204" pitchFamily="34" charset="0"/>
              </a:defRPr>
            </a:lvl1pPr>
          </a:lstStyle>
          <a:p>
            <a:pPr lvl="0"/>
            <a:r>
              <a:rPr lang="en-US" dirty="0"/>
              <a:t>Secondary header here</a:t>
            </a:r>
          </a:p>
        </p:txBody>
      </p:sp>
      <p:sp>
        <p:nvSpPr>
          <p:cNvPr id="13" name="Text Placeholder 3"/>
          <p:cNvSpPr>
            <a:spLocks noGrp="1"/>
          </p:cNvSpPr>
          <p:nvPr>
            <p:ph type="body" sz="quarter" idx="10" hasCustomPrompt="1"/>
          </p:nvPr>
        </p:nvSpPr>
        <p:spPr>
          <a:xfrm>
            <a:off x="476251" y="2857647"/>
            <a:ext cx="3333749" cy="456692"/>
          </a:xfrm>
        </p:spPr>
        <p:txBody>
          <a:bodyPr anchor="b"/>
          <a:lstStyle>
            <a:lvl1pPr marL="0" indent="0">
              <a:buFont typeface="Arial" panose="020B0604020202020204" pitchFamily="34" charset="0"/>
              <a:buNone/>
              <a:defRPr sz="1300" b="1">
                <a:solidFill>
                  <a:srgbClr val="000000"/>
                </a:solidFill>
                <a:latin typeface="Arial" panose="020B0604020202020204" pitchFamily="34" charset="0"/>
                <a:cs typeface="Arial" panose="020B0604020202020204" pitchFamily="34" charset="0"/>
              </a:defRPr>
            </a:lvl1pPr>
          </a:lstStyle>
          <a:p>
            <a:pPr lvl="0"/>
            <a:r>
              <a:rPr lang="en-US" dirty="0"/>
              <a:t>SECTION HEADER HERE</a:t>
            </a:r>
          </a:p>
        </p:txBody>
      </p:sp>
    </p:spTree>
    <p:extLst>
      <p:ext uri="{BB962C8B-B14F-4D97-AF65-F5344CB8AC3E}">
        <p14:creationId xmlns:p14="http://schemas.microsoft.com/office/powerpoint/2010/main" val="3813291760"/>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and color curved photo">
    <p:spTree>
      <p:nvGrpSpPr>
        <p:cNvPr id="1" name=""/>
        <p:cNvGrpSpPr/>
        <p:nvPr/>
      </p:nvGrpSpPr>
      <p:grpSpPr>
        <a:xfrm>
          <a:off x="0" y="0"/>
          <a:ext cx="0" cy="0"/>
          <a:chOff x="0" y="0"/>
          <a:chExt cx="0" cy="0"/>
        </a:xfrm>
      </p:grpSpPr>
      <p:pic>
        <p:nvPicPr>
          <p:cNvPr id="12"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361950"/>
            <a:ext cx="2133690" cy="456598"/>
          </a:xfrm>
          <a:prstGeom prst="rect">
            <a:avLst/>
          </a:prstGeom>
        </p:spPr>
      </p:pic>
      <p:sp>
        <p:nvSpPr>
          <p:cNvPr id="11" name="Rectangle 1"/>
          <p:cNvSpPr/>
          <p:nvPr userDrawn="1"/>
        </p:nvSpPr>
        <p:spPr>
          <a:xfrm>
            <a:off x="4500563" y="1203325"/>
            <a:ext cx="4643437" cy="3962400"/>
          </a:xfrm>
          <a:custGeom>
            <a:avLst/>
            <a:gdLst>
              <a:gd name="connsiteX0" fmla="*/ 0 w 5143500"/>
              <a:gd name="connsiteY0" fmla="*/ 0 h 5143500"/>
              <a:gd name="connsiteX1" fmla="*/ 5143500 w 5143500"/>
              <a:gd name="connsiteY1" fmla="*/ 0 h 5143500"/>
              <a:gd name="connsiteX2" fmla="*/ 5143500 w 5143500"/>
              <a:gd name="connsiteY2" fmla="*/ 5143500 h 5143500"/>
              <a:gd name="connsiteX3" fmla="*/ 0 w 5143500"/>
              <a:gd name="connsiteY3" fmla="*/ 5143500 h 5143500"/>
              <a:gd name="connsiteX4" fmla="*/ 0 w 5143500"/>
              <a:gd name="connsiteY4" fmla="*/ 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7000 w 5143500"/>
              <a:gd name="connsiteY0" fmla="*/ 2006600 h 5143500"/>
              <a:gd name="connsiteX1" fmla="*/ 5143500 w 5143500"/>
              <a:gd name="connsiteY1" fmla="*/ 0 h 5143500"/>
              <a:gd name="connsiteX2" fmla="*/ 5143500 w 5143500"/>
              <a:gd name="connsiteY2" fmla="*/ 5143500 h 5143500"/>
              <a:gd name="connsiteX3" fmla="*/ 0 w 5143500"/>
              <a:gd name="connsiteY3" fmla="*/ 5143500 h 5143500"/>
              <a:gd name="connsiteX4" fmla="*/ 1397000 w 5143500"/>
              <a:gd name="connsiteY4" fmla="*/ 2006600 h 5143500"/>
              <a:gd name="connsiteX0" fmla="*/ 1398254 w 5144754"/>
              <a:gd name="connsiteY0" fmla="*/ 2006600 h 5143500"/>
              <a:gd name="connsiteX1" fmla="*/ 5144754 w 5144754"/>
              <a:gd name="connsiteY1" fmla="*/ 0 h 5143500"/>
              <a:gd name="connsiteX2" fmla="*/ 5144754 w 5144754"/>
              <a:gd name="connsiteY2" fmla="*/ 5143500 h 5143500"/>
              <a:gd name="connsiteX3" fmla="*/ 1254 w 5144754"/>
              <a:gd name="connsiteY3" fmla="*/ 5143500 h 5143500"/>
              <a:gd name="connsiteX4" fmla="*/ 1398254 w 5144754"/>
              <a:gd name="connsiteY4" fmla="*/ 2006600 h 5143500"/>
              <a:gd name="connsiteX0" fmla="*/ 1419236 w 5165736"/>
              <a:gd name="connsiteY0" fmla="*/ 2006600 h 5143500"/>
              <a:gd name="connsiteX1" fmla="*/ 5165736 w 5165736"/>
              <a:gd name="connsiteY1" fmla="*/ 0 h 5143500"/>
              <a:gd name="connsiteX2" fmla="*/ 5165736 w 5165736"/>
              <a:gd name="connsiteY2" fmla="*/ 5143500 h 5143500"/>
              <a:gd name="connsiteX3" fmla="*/ 22236 w 5165736"/>
              <a:gd name="connsiteY3" fmla="*/ 5143500 h 5143500"/>
              <a:gd name="connsiteX4" fmla="*/ 1419236 w 5165736"/>
              <a:gd name="connsiteY4" fmla="*/ 2006600 h 5143500"/>
              <a:gd name="connsiteX0" fmla="*/ 1397354 w 5143854"/>
              <a:gd name="connsiteY0" fmla="*/ 2006600 h 5143500"/>
              <a:gd name="connsiteX1" fmla="*/ 5143854 w 5143854"/>
              <a:gd name="connsiteY1" fmla="*/ 0 h 5143500"/>
              <a:gd name="connsiteX2" fmla="*/ 5143854 w 5143854"/>
              <a:gd name="connsiteY2" fmla="*/ 5143500 h 5143500"/>
              <a:gd name="connsiteX3" fmla="*/ 354 w 5143854"/>
              <a:gd name="connsiteY3" fmla="*/ 5143500 h 5143500"/>
              <a:gd name="connsiteX4" fmla="*/ 1397354 w 5143854"/>
              <a:gd name="connsiteY4" fmla="*/ 2006600 h 5143500"/>
              <a:gd name="connsiteX0" fmla="*/ 1397354 w 5143854"/>
              <a:gd name="connsiteY0" fmla="*/ 2006600 h 5143500"/>
              <a:gd name="connsiteX1" fmla="*/ 5143854 w 5143854"/>
              <a:gd name="connsiteY1" fmla="*/ 0 h 5143500"/>
              <a:gd name="connsiteX2" fmla="*/ 5143854 w 5143854"/>
              <a:gd name="connsiteY2" fmla="*/ 5143500 h 5143500"/>
              <a:gd name="connsiteX3" fmla="*/ 354 w 5143854"/>
              <a:gd name="connsiteY3" fmla="*/ 5143500 h 5143500"/>
              <a:gd name="connsiteX4" fmla="*/ 1397354 w 5143854"/>
              <a:gd name="connsiteY4" fmla="*/ 2006600 h 5143500"/>
              <a:gd name="connsiteX0" fmla="*/ 1397354 w 5143854"/>
              <a:gd name="connsiteY0" fmla="*/ 2006600 h 5143500"/>
              <a:gd name="connsiteX1" fmla="*/ 5143854 w 5143854"/>
              <a:gd name="connsiteY1" fmla="*/ 0 h 5143500"/>
              <a:gd name="connsiteX2" fmla="*/ 5143854 w 5143854"/>
              <a:gd name="connsiteY2" fmla="*/ 5143500 h 5143500"/>
              <a:gd name="connsiteX3" fmla="*/ 354 w 5143854"/>
              <a:gd name="connsiteY3" fmla="*/ 5143500 h 5143500"/>
              <a:gd name="connsiteX4" fmla="*/ 1397354 w 5143854"/>
              <a:gd name="connsiteY4" fmla="*/ 2006600 h 5143500"/>
              <a:gd name="connsiteX0" fmla="*/ 1397354 w 5143854"/>
              <a:gd name="connsiteY0" fmla="*/ 2006600 h 5143500"/>
              <a:gd name="connsiteX1" fmla="*/ 5143854 w 5143854"/>
              <a:gd name="connsiteY1" fmla="*/ 0 h 5143500"/>
              <a:gd name="connsiteX2" fmla="*/ 5143854 w 5143854"/>
              <a:gd name="connsiteY2" fmla="*/ 5143500 h 5143500"/>
              <a:gd name="connsiteX3" fmla="*/ 354 w 5143854"/>
              <a:gd name="connsiteY3" fmla="*/ 5143500 h 5143500"/>
              <a:gd name="connsiteX4" fmla="*/ 1397354 w 5143854"/>
              <a:gd name="connsiteY4" fmla="*/ 2006600 h 5143500"/>
              <a:gd name="connsiteX0" fmla="*/ 1600466 w 5143766"/>
              <a:gd name="connsiteY0" fmla="*/ 2120900 h 5143500"/>
              <a:gd name="connsiteX1" fmla="*/ 5143766 w 5143766"/>
              <a:gd name="connsiteY1" fmla="*/ 0 h 5143500"/>
              <a:gd name="connsiteX2" fmla="*/ 5143766 w 5143766"/>
              <a:gd name="connsiteY2" fmla="*/ 5143500 h 5143500"/>
              <a:gd name="connsiteX3" fmla="*/ 266 w 5143766"/>
              <a:gd name="connsiteY3" fmla="*/ 5143500 h 5143500"/>
              <a:gd name="connsiteX4" fmla="*/ 1600466 w 5143766"/>
              <a:gd name="connsiteY4" fmla="*/ 2120900 h 5143500"/>
              <a:gd name="connsiteX0" fmla="*/ 1435433 w 5143833"/>
              <a:gd name="connsiteY0" fmla="*/ 2159000 h 5143500"/>
              <a:gd name="connsiteX1" fmla="*/ 5143833 w 5143833"/>
              <a:gd name="connsiteY1" fmla="*/ 0 h 5143500"/>
              <a:gd name="connsiteX2" fmla="*/ 5143833 w 5143833"/>
              <a:gd name="connsiteY2" fmla="*/ 5143500 h 5143500"/>
              <a:gd name="connsiteX3" fmla="*/ 333 w 5143833"/>
              <a:gd name="connsiteY3" fmla="*/ 5143500 h 5143500"/>
              <a:gd name="connsiteX4" fmla="*/ 1435433 w 5143833"/>
              <a:gd name="connsiteY4" fmla="*/ 2159000 h 5143500"/>
              <a:gd name="connsiteX0" fmla="*/ 1435433 w 5143833"/>
              <a:gd name="connsiteY0" fmla="*/ 2159000 h 5143500"/>
              <a:gd name="connsiteX1" fmla="*/ 5143833 w 5143833"/>
              <a:gd name="connsiteY1" fmla="*/ 0 h 5143500"/>
              <a:gd name="connsiteX2" fmla="*/ 5143833 w 5143833"/>
              <a:gd name="connsiteY2" fmla="*/ 5143500 h 5143500"/>
              <a:gd name="connsiteX3" fmla="*/ 333 w 5143833"/>
              <a:gd name="connsiteY3" fmla="*/ 5143500 h 5143500"/>
              <a:gd name="connsiteX4" fmla="*/ 1435433 w 5143833"/>
              <a:gd name="connsiteY4" fmla="*/ 2159000 h 5143500"/>
              <a:gd name="connsiteX0" fmla="*/ 1435433 w 5143833"/>
              <a:gd name="connsiteY0" fmla="*/ 2159000 h 5143500"/>
              <a:gd name="connsiteX1" fmla="*/ 5143833 w 5143833"/>
              <a:gd name="connsiteY1" fmla="*/ 0 h 5143500"/>
              <a:gd name="connsiteX2" fmla="*/ 5143833 w 5143833"/>
              <a:gd name="connsiteY2" fmla="*/ 5143500 h 5143500"/>
              <a:gd name="connsiteX3" fmla="*/ 1105234 w 5143833"/>
              <a:gd name="connsiteY3" fmla="*/ 5143500 h 5143500"/>
              <a:gd name="connsiteX4" fmla="*/ 333 w 5143833"/>
              <a:gd name="connsiteY4" fmla="*/ 5143500 h 5143500"/>
              <a:gd name="connsiteX5" fmla="*/ 1435433 w 5143833"/>
              <a:gd name="connsiteY5" fmla="*/ 2159000 h 5143500"/>
              <a:gd name="connsiteX0" fmla="*/ 487278 w 4195678"/>
              <a:gd name="connsiteY0" fmla="*/ 2159000 h 5168900"/>
              <a:gd name="connsiteX1" fmla="*/ 4195678 w 4195678"/>
              <a:gd name="connsiteY1" fmla="*/ 0 h 5168900"/>
              <a:gd name="connsiteX2" fmla="*/ 4195678 w 4195678"/>
              <a:gd name="connsiteY2" fmla="*/ 5143500 h 5168900"/>
              <a:gd name="connsiteX3" fmla="*/ 157079 w 4195678"/>
              <a:gd name="connsiteY3" fmla="*/ 5143500 h 5168900"/>
              <a:gd name="connsiteX4" fmla="*/ 144378 w 4195678"/>
              <a:gd name="connsiteY4" fmla="*/ 5168900 h 5168900"/>
              <a:gd name="connsiteX5" fmla="*/ 487278 w 4195678"/>
              <a:gd name="connsiteY5" fmla="*/ 2159000 h 5168900"/>
              <a:gd name="connsiteX0" fmla="*/ 928533 w 4636933"/>
              <a:gd name="connsiteY0" fmla="*/ 2159000 h 5181600"/>
              <a:gd name="connsiteX1" fmla="*/ 4636933 w 4636933"/>
              <a:gd name="connsiteY1" fmla="*/ 0 h 5181600"/>
              <a:gd name="connsiteX2" fmla="*/ 4636933 w 4636933"/>
              <a:gd name="connsiteY2" fmla="*/ 5143500 h 5181600"/>
              <a:gd name="connsiteX3" fmla="*/ 598334 w 4636933"/>
              <a:gd name="connsiteY3" fmla="*/ 5143500 h 5181600"/>
              <a:gd name="connsiteX4" fmla="*/ 1433 w 4636933"/>
              <a:gd name="connsiteY4" fmla="*/ 5181600 h 5181600"/>
              <a:gd name="connsiteX5" fmla="*/ 928533 w 4636933"/>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81600"/>
              <a:gd name="connsiteX1" fmla="*/ 4635500 w 4635500"/>
              <a:gd name="connsiteY1" fmla="*/ 0 h 5181600"/>
              <a:gd name="connsiteX2" fmla="*/ 4635500 w 4635500"/>
              <a:gd name="connsiteY2" fmla="*/ 5143500 h 5181600"/>
              <a:gd name="connsiteX3" fmla="*/ 596901 w 4635500"/>
              <a:gd name="connsiteY3" fmla="*/ 5143500 h 5181600"/>
              <a:gd name="connsiteX4" fmla="*/ 0 w 4635500"/>
              <a:gd name="connsiteY4" fmla="*/ 5181600 h 5181600"/>
              <a:gd name="connsiteX5" fmla="*/ 927100 w 4635500"/>
              <a:gd name="connsiteY5" fmla="*/ 2159000 h 5181600"/>
              <a:gd name="connsiteX0" fmla="*/ 927100 w 4635500"/>
              <a:gd name="connsiteY0" fmla="*/ 21590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5" fmla="*/ 927100 w 4635500"/>
              <a:gd name="connsiteY5" fmla="*/ 2159000 h 5143500"/>
              <a:gd name="connsiteX0" fmla="*/ 0 w 4635500"/>
              <a:gd name="connsiteY0" fmla="*/ 51435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0" fmla="*/ 0 w 4635500"/>
              <a:gd name="connsiteY0" fmla="*/ 51435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0" fmla="*/ 0 w 4635500"/>
              <a:gd name="connsiteY0" fmla="*/ 5145147 h 5145147"/>
              <a:gd name="connsiteX1" fmla="*/ 4635500 w 4635500"/>
              <a:gd name="connsiteY1" fmla="*/ 1647 h 5145147"/>
              <a:gd name="connsiteX2" fmla="*/ 4635500 w 4635500"/>
              <a:gd name="connsiteY2" fmla="*/ 5145147 h 5145147"/>
              <a:gd name="connsiteX3" fmla="*/ 596901 w 4635500"/>
              <a:gd name="connsiteY3" fmla="*/ 5145147 h 5145147"/>
              <a:gd name="connsiteX4" fmla="*/ 0 w 4635500"/>
              <a:gd name="connsiteY4" fmla="*/ 5145147 h 5145147"/>
              <a:gd name="connsiteX0" fmla="*/ 0 w 4635500"/>
              <a:gd name="connsiteY0" fmla="*/ 51435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0" fmla="*/ 0 w 4635500"/>
              <a:gd name="connsiteY0" fmla="*/ 5143500 h 5143500"/>
              <a:gd name="connsiteX1" fmla="*/ 4635500 w 4635500"/>
              <a:gd name="connsiteY1" fmla="*/ 0 h 5143500"/>
              <a:gd name="connsiteX2" fmla="*/ 4635500 w 4635500"/>
              <a:gd name="connsiteY2" fmla="*/ 5143500 h 5143500"/>
              <a:gd name="connsiteX3" fmla="*/ 596901 w 4635500"/>
              <a:gd name="connsiteY3" fmla="*/ 5143500 h 5143500"/>
              <a:gd name="connsiteX4" fmla="*/ 0 w 4635500"/>
              <a:gd name="connsiteY4" fmla="*/ 5143500 h 5143500"/>
              <a:gd name="connsiteX0" fmla="*/ 0 w 4457700"/>
              <a:gd name="connsiteY0" fmla="*/ 5143500 h 5143500"/>
              <a:gd name="connsiteX1" fmla="*/ 4457700 w 4457700"/>
              <a:gd name="connsiteY1" fmla="*/ 0 h 5143500"/>
              <a:gd name="connsiteX2" fmla="*/ 4457700 w 4457700"/>
              <a:gd name="connsiteY2" fmla="*/ 5143500 h 5143500"/>
              <a:gd name="connsiteX3" fmla="*/ 419101 w 4457700"/>
              <a:gd name="connsiteY3" fmla="*/ 5143500 h 5143500"/>
              <a:gd name="connsiteX4" fmla="*/ 0 w 4457700"/>
              <a:gd name="connsiteY4" fmla="*/ 5143500 h 5143500"/>
              <a:gd name="connsiteX0" fmla="*/ 0 w 4610100"/>
              <a:gd name="connsiteY0" fmla="*/ 5156200 h 5156200"/>
              <a:gd name="connsiteX1" fmla="*/ 4610100 w 4610100"/>
              <a:gd name="connsiteY1" fmla="*/ 0 h 5156200"/>
              <a:gd name="connsiteX2" fmla="*/ 4610100 w 4610100"/>
              <a:gd name="connsiteY2" fmla="*/ 5143500 h 5156200"/>
              <a:gd name="connsiteX3" fmla="*/ 571501 w 4610100"/>
              <a:gd name="connsiteY3" fmla="*/ 5143500 h 5156200"/>
              <a:gd name="connsiteX4" fmla="*/ 0 w 4610100"/>
              <a:gd name="connsiteY4" fmla="*/ 5156200 h 5156200"/>
              <a:gd name="connsiteX0" fmla="*/ 0 w 4610100"/>
              <a:gd name="connsiteY0" fmla="*/ 5156200 h 5156200"/>
              <a:gd name="connsiteX1" fmla="*/ 4610100 w 4610100"/>
              <a:gd name="connsiteY1" fmla="*/ 0 h 5156200"/>
              <a:gd name="connsiteX2" fmla="*/ 4610100 w 4610100"/>
              <a:gd name="connsiteY2" fmla="*/ 5143500 h 5156200"/>
              <a:gd name="connsiteX3" fmla="*/ 571501 w 4610100"/>
              <a:gd name="connsiteY3" fmla="*/ 5143500 h 5156200"/>
              <a:gd name="connsiteX4" fmla="*/ 0 w 4610100"/>
              <a:gd name="connsiteY4" fmla="*/ 5156200 h 5156200"/>
              <a:gd name="connsiteX0" fmla="*/ 0 w 4610100"/>
              <a:gd name="connsiteY0" fmla="*/ 5156200 h 5156200"/>
              <a:gd name="connsiteX1" fmla="*/ 4610100 w 4610100"/>
              <a:gd name="connsiteY1" fmla="*/ 0 h 5156200"/>
              <a:gd name="connsiteX2" fmla="*/ 4610100 w 4610100"/>
              <a:gd name="connsiteY2" fmla="*/ 5143500 h 5156200"/>
              <a:gd name="connsiteX3" fmla="*/ 571501 w 4610100"/>
              <a:gd name="connsiteY3" fmla="*/ 5143500 h 5156200"/>
              <a:gd name="connsiteX4" fmla="*/ 0 w 4610100"/>
              <a:gd name="connsiteY4" fmla="*/ 5156200 h 5156200"/>
              <a:gd name="connsiteX0" fmla="*/ 0 w 4610100"/>
              <a:gd name="connsiteY0" fmla="*/ 5130800 h 5143500"/>
              <a:gd name="connsiteX1" fmla="*/ 4610100 w 4610100"/>
              <a:gd name="connsiteY1" fmla="*/ 0 h 5143500"/>
              <a:gd name="connsiteX2" fmla="*/ 4610100 w 4610100"/>
              <a:gd name="connsiteY2" fmla="*/ 5143500 h 5143500"/>
              <a:gd name="connsiteX3" fmla="*/ 571501 w 4610100"/>
              <a:gd name="connsiteY3" fmla="*/ 5143500 h 5143500"/>
              <a:gd name="connsiteX4" fmla="*/ 0 w 4610100"/>
              <a:gd name="connsiteY4" fmla="*/ 51308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100" h="5143500">
                <a:moveTo>
                  <a:pt x="0" y="5130800"/>
                </a:moveTo>
                <a:cubicBezTo>
                  <a:pt x="215900" y="1136650"/>
                  <a:pt x="3012017" y="38100"/>
                  <a:pt x="4610100" y="0"/>
                </a:cubicBezTo>
                <a:lnTo>
                  <a:pt x="4610100" y="5143500"/>
                </a:lnTo>
                <a:lnTo>
                  <a:pt x="571501" y="5143500"/>
                </a:lnTo>
                <a:lnTo>
                  <a:pt x="0" y="5130800"/>
                </a:lnTo>
                <a:close/>
              </a:path>
            </a:pathLst>
          </a:custGeom>
          <a:solidFill>
            <a:srgbClr val="4F2D7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4" name="Straight Connector 13"/>
          <p:cNvCxnSpPr/>
          <p:nvPr userDrawn="1"/>
        </p:nvCxnSpPr>
        <p:spPr>
          <a:xfrm>
            <a:off x="476251" y="3412613"/>
            <a:ext cx="1562099" cy="0"/>
          </a:xfrm>
          <a:prstGeom prst="line">
            <a:avLst/>
          </a:prstGeom>
          <a:ln w="28575" cap="rnd">
            <a:solidFill>
              <a:srgbClr val="4F2D7F"/>
            </a:solidFill>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ph type="body" idx="1" hasCustomPrompt="1"/>
          </p:nvPr>
        </p:nvSpPr>
        <p:spPr>
          <a:xfrm>
            <a:off x="457200" y="3470301"/>
            <a:ext cx="6134100" cy="714890"/>
          </a:xfrm>
        </p:spPr>
        <p:txBody>
          <a:bodyPr anchor="b"/>
          <a:lstStyle>
            <a:lvl1pPr marL="0" indent="0">
              <a:lnSpc>
                <a:spcPct val="90000"/>
              </a:lnSpc>
              <a:buNone/>
              <a:defRPr lang="en-US" sz="2700" b="1" i="0" kern="1200" baseline="0" dirty="0" smtClean="0">
                <a:solidFill>
                  <a:srgbClr val="4F2D7F"/>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Primary header here</a:t>
            </a:r>
          </a:p>
        </p:txBody>
      </p:sp>
      <p:sp>
        <p:nvSpPr>
          <p:cNvPr id="16" name="Text Placeholder 8"/>
          <p:cNvSpPr>
            <a:spLocks noGrp="1"/>
          </p:cNvSpPr>
          <p:nvPr>
            <p:ph type="body" sz="quarter" idx="11" hasCustomPrompt="1"/>
          </p:nvPr>
        </p:nvSpPr>
        <p:spPr>
          <a:xfrm>
            <a:off x="457200" y="4192749"/>
            <a:ext cx="6134100" cy="279642"/>
          </a:xfrm>
        </p:spPr>
        <p:txBody>
          <a:bodyPr anchor="b"/>
          <a:lstStyle>
            <a:lvl1pPr marL="0" indent="0">
              <a:buNone/>
              <a:defRPr sz="1800" b="0" i="0">
                <a:latin typeface="Arial" panose="020B0604020202020204" pitchFamily="34" charset="0"/>
                <a:ea typeface="Arial" panose="020B0604020202020204" pitchFamily="34" charset="0"/>
                <a:cs typeface="Arial" panose="020B0604020202020204" pitchFamily="34" charset="0"/>
              </a:defRPr>
            </a:lvl1pPr>
          </a:lstStyle>
          <a:p>
            <a:pPr lvl="0"/>
            <a:r>
              <a:rPr lang="en-US" dirty="0"/>
              <a:t>Secondary header here</a:t>
            </a:r>
          </a:p>
        </p:txBody>
      </p:sp>
      <p:sp>
        <p:nvSpPr>
          <p:cNvPr id="17" name="Text Placeholder 3"/>
          <p:cNvSpPr>
            <a:spLocks noGrp="1"/>
          </p:cNvSpPr>
          <p:nvPr>
            <p:ph type="body" sz="quarter" idx="10" hasCustomPrompt="1"/>
          </p:nvPr>
        </p:nvSpPr>
        <p:spPr>
          <a:xfrm>
            <a:off x="476251" y="2857647"/>
            <a:ext cx="3333749" cy="456692"/>
          </a:xfrm>
        </p:spPr>
        <p:txBody>
          <a:bodyPr anchor="b"/>
          <a:lstStyle>
            <a:lvl1pPr marL="0" indent="0">
              <a:buFont typeface="Arial" panose="020B0604020202020204" pitchFamily="34" charset="0"/>
              <a:buNone/>
              <a:defRPr sz="1300" b="1">
                <a:solidFill>
                  <a:srgbClr val="000000"/>
                </a:solidFill>
                <a:latin typeface="Arial" panose="020B0604020202020204" pitchFamily="34" charset="0"/>
                <a:cs typeface="Arial" panose="020B0604020202020204" pitchFamily="34" charset="0"/>
              </a:defRPr>
            </a:lvl1pPr>
          </a:lstStyle>
          <a:p>
            <a:pPr lvl="0"/>
            <a:r>
              <a:rPr lang="en-US" dirty="0"/>
              <a:t>SECTION HEADER HERE</a:t>
            </a:r>
          </a:p>
        </p:txBody>
      </p:sp>
    </p:spTree>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and illustra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1820" t="7962" r="9760" b="12407"/>
          <a:stretch/>
        </p:blipFill>
        <p:spPr>
          <a:xfrm>
            <a:off x="4948540" y="-1471612"/>
            <a:ext cx="4961920" cy="5092185"/>
          </a:xfrm>
          <a:prstGeom prst="rect">
            <a:avLst/>
          </a:prstGeom>
        </p:spPr>
      </p:pic>
      <p:pic>
        <p:nvPicPr>
          <p:cNvPr id="12" name="GTLogo" descr="GTlogo-horizontal-strapline-RGB.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9958" r="44795"/>
          <a:stretch/>
        </p:blipFill>
        <p:spPr>
          <a:xfrm>
            <a:off x="457200" y="361950"/>
            <a:ext cx="2133690" cy="456598"/>
          </a:xfrm>
          <a:prstGeom prst="rect">
            <a:avLst/>
          </a:prstGeom>
        </p:spPr>
      </p:pic>
      <p:cxnSp>
        <p:nvCxnSpPr>
          <p:cNvPr id="10" name="Straight Connector 9"/>
          <p:cNvCxnSpPr/>
          <p:nvPr userDrawn="1"/>
        </p:nvCxnSpPr>
        <p:spPr>
          <a:xfrm>
            <a:off x="476251" y="3412613"/>
            <a:ext cx="1562099" cy="0"/>
          </a:xfrm>
          <a:prstGeom prst="line">
            <a:avLst/>
          </a:prstGeom>
          <a:ln w="28575" cap="rnd">
            <a:solidFill>
              <a:srgbClr val="4F2D7F"/>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 hasCustomPrompt="1"/>
          </p:nvPr>
        </p:nvSpPr>
        <p:spPr>
          <a:xfrm>
            <a:off x="457200" y="3470301"/>
            <a:ext cx="6134100" cy="714890"/>
          </a:xfrm>
        </p:spPr>
        <p:txBody>
          <a:bodyPr anchor="b"/>
          <a:lstStyle>
            <a:lvl1pPr marL="0" indent="0">
              <a:lnSpc>
                <a:spcPct val="90000"/>
              </a:lnSpc>
              <a:buNone/>
              <a:defRPr lang="en-US" sz="2700" b="1" i="0" kern="1200" baseline="0" dirty="0" smtClean="0">
                <a:solidFill>
                  <a:srgbClr val="4F2D7F"/>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Primary header here</a:t>
            </a:r>
          </a:p>
        </p:txBody>
      </p:sp>
      <p:sp>
        <p:nvSpPr>
          <p:cNvPr id="15" name="Text Placeholder 8"/>
          <p:cNvSpPr>
            <a:spLocks noGrp="1"/>
          </p:cNvSpPr>
          <p:nvPr>
            <p:ph type="body" sz="quarter" idx="11" hasCustomPrompt="1"/>
          </p:nvPr>
        </p:nvSpPr>
        <p:spPr>
          <a:xfrm>
            <a:off x="457200" y="4192749"/>
            <a:ext cx="6134100" cy="279642"/>
          </a:xfrm>
        </p:spPr>
        <p:txBody>
          <a:bodyPr anchor="b"/>
          <a:lstStyle>
            <a:lvl1pPr marL="0" indent="0">
              <a:buNone/>
              <a:defRPr sz="1800" b="0" i="0">
                <a:latin typeface="Arial" panose="020B0604020202020204" pitchFamily="34" charset="0"/>
                <a:ea typeface="Arial" panose="020B0604020202020204" pitchFamily="34" charset="0"/>
                <a:cs typeface="Arial" panose="020B0604020202020204" pitchFamily="34" charset="0"/>
              </a:defRPr>
            </a:lvl1pPr>
          </a:lstStyle>
          <a:p>
            <a:pPr lvl="0"/>
            <a:r>
              <a:rPr lang="en-US" dirty="0"/>
              <a:t>Secondary header here</a:t>
            </a:r>
          </a:p>
        </p:txBody>
      </p:sp>
      <p:sp>
        <p:nvSpPr>
          <p:cNvPr id="16" name="Text Placeholder 3"/>
          <p:cNvSpPr>
            <a:spLocks noGrp="1"/>
          </p:cNvSpPr>
          <p:nvPr>
            <p:ph type="body" sz="quarter" idx="10" hasCustomPrompt="1"/>
          </p:nvPr>
        </p:nvSpPr>
        <p:spPr>
          <a:xfrm>
            <a:off x="476251" y="2857647"/>
            <a:ext cx="3333749" cy="456692"/>
          </a:xfrm>
        </p:spPr>
        <p:txBody>
          <a:bodyPr anchor="b"/>
          <a:lstStyle>
            <a:lvl1pPr marL="0" indent="0">
              <a:buFont typeface="Arial" panose="020B0604020202020204" pitchFamily="34" charset="0"/>
              <a:buNone/>
              <a:defRPr sz="1300" b="1">
                <a:solidFill>
                  <a:srgbClr val="000000"/>
                </a:solidFill>
                <a:latin typeface="Arial" panose="020B0604020202020204" pitchFamily="34" charset="0"/>
                <a:cs typeface="Arial" panose="020B0604020202020204" pitchFamily="34" charset="0"/>
              </a:defRPr>
            </a:lvl1pPr>
          </a:lstStyle>
          <a:p>
            <a:pPr lvl="0"/>
            <a:r>
              <a:rPr lang="en-US" dirty="0"/>
              <a:t>SECTION HEADER HERE</a:t>
            </a:r>
          </a:p>
        </p:txBody>
      </p:sp>
    </p:spTree>
    <p:extLst>
      <p:ext uri="{BB962C8B-B14F-4D97-AF65-F5344CB8AC3E}">
        <p14:creationId xmlns:p14="http://schemas.microsoft.com/office/powerpoint/2010/main" val="3345340447"/>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and proposal illustration">
    <p:spTree>
      <p:nvGrpSpPr>
        <p:cNvPr id="1" name=""/>
        <p:cNvGrpSpPr/>
        <p:nvPr/>
      </p:nvGrpSpPr>
      <p:grpSpPr>
        <a:xfrm>
          <a:off x="0" y="0"/>
          <a:ext cx="0" cy="0"/>
          <a:chOff x="0" y="0"/>
          <a:chExt cx="0" cy="0"/>
        </a:xfrm>
      </p:grpSpPr>
      <p:pic>
        <p:nvPicPr>
          <p:cNvPr id="12"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361950"/>
            <a:ext cx="2133690" cy="456598"/>
          </a:xfrm>
          <a:prstGeom prst="rect">
            <a:avLst/>
          </a:prstGeom>
        </p:spPr>
      </p:pic>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l="6078" t="9413" r="9611" b="10858"/>
          <a:stretch/>
        </p:blipFill>
        <p:spPr>
          <a:xfrm>
            <a:off x="5076972" y="-965031"/>
            <a:ext cx="5109910" cy="4883888"/>
          </a:xfrm>
          <a:prstGeom prst="rect">
            <a:avLst/>
          </a:prstGeom>
        </p:spPr>
      </p:pic>
      <p:cxnSp>
        <p:nvCxnSpPr>
          <p:cNvPr id="11" name="Straight Connector 10"/>
          <p:cNvCxnSpPr/>
          <p:nvPr userDrawn="1"/>
        </p:nvCxnSpPr>
        <p:spPr>
          <a:xfrm>
            <a:off x="476251" y="3412613"/>
            <a:ext cx="1562099" cy="0"/>
          </a:xfrm>
          <a:prstGeom prst="line">
            <a:avLst/>
          </a:prstGeom>
          <a:ln w="28575" cap="rnd">
            <a:solidFill>
              <a:srgbClr val="4F2D7F"/>
            </a:solidFill>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ph type="body" idx="1" hasCustomPrompt="1"/>
          </p:nvPr>
        </p:nvSpPr>
        <p:spPr>
          <a:xfrm>
            <a:off x="457200" y="3470301"/>
            <a:ext cx="6134100" cy="714890"/>
          </a:xfrm>
        </p:spPr>
        <p:txBody>
          <a:bodyPr anchor="b"/>
          <a:lstStyle>
            <a:lvl1pPr marL="0" indent="0">
              <a:lnSpc>
                <a:spcPct val="90000"/>
              </a:lnSpc>
              <a:buNone/>
              <a:defRPr lang="en-US" sz="2700" b="1" i="0" kern="1200" baseline="0" dirty="0" smtClean="0">
                <a:solidFill>
                  <a:srgbClr val="4F2D7F"/>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Primary header here</a:t>
            </a:r>
          </a:p>
        </p:txBody>
      </p:sp>
      <p:sp>
        <p:nvSpPr>
          <p:cNvPr id="16" name="Text Placeholder 8"/>
          <p:cNvSpPr>
            <a:spLocks noGrp="1"/>
          </p:cNvSpPr>
          <p:nvPr>
            <p:ph type="body" sz="quarter" idx="11" hasCustomPrompt="1"/>
          </p:nvPr>
        </p:nvSpPr>
        <p:spPr>
          <a:xfrm>
            <a:off x="457200" y="4192749"/>
            <a:ext cx="6134100" cy="279642"/>
          </a:xfrm>
        </p:spPr>
        <p:txBody>
          <a:bodyPr anchor="b"/>
          <a:lstStyle>
            <a:lvl1pPr marL="0" indent="0">
              <a:buNone/>
              <a:defRPr sz="1800" b="0" i="0">
                <a:latin typeface="Arial" panose="020B0604020202020204" pitchFamily="34" charset="0"/>
                <a:ea typeface="Arial" panose="020B0604020202020204" pitchFamily="34" charset="0"/>
                <a:cs typeface="Arial" panose="020B0604020202020204" pitchFamily="34" charset="0"/>
              </a:defRPr>
            </a:lvl1pPr>
          </a:lstStyle>
          <a:p>
            <a:pPr lvl="0"/>
            <a:r>
              <a:rPr lang="en-US" dirty="0"/>
              <a:t>Secondary header here</a:t>
            </a:r>
          </a:p>
        </p:txBody>
      </p:sp>
      <p:sp>
        <p:nvSpPr>
          <p:cNvPr id="17" name="Text Placeholder 3"/>
          <p:cNvSpPr>
            <a:spLocks noGrp="1"/>
          </p:cNvSpPr>
          <p:nvPr>
            <p:ph type="body" sz="quarter" idx="10" hasCustomPrompt="1"/>
          </p:nvPr>
        </p:nvSpPr>
        <p:spPr>
          <a:xfrm>
            <a:off x="476251" y="2857647"/>
            <a:ext cx="3333749" cy="456692"/>
          </a:xfrm>
        </p:spPr>
        <p:txBody>
          <a:bodyPr anchor="b"/>
          <a:lstStyle>
            <a:lvl1pPr marL="0" indent="0">
              <a:buFont typeface="Arial" panose="020B0604020202020204" pitchFamily="34" charset="0"/>
              <a:buNone/>
              <a:defRPr sz="1300" b="1">
                <a:solidFill>
                  <a:srgbClr val="000000"/>
                </a:solidFill>
                <a:latin typeface="Arial" panose="020B0604020202020204" pitchFamily="34" charset="0"/>
                <a:cs typeface="Arial" panose="020B0604020202020204" pitchFamily="34" charset="0"/>
              </a:defRPr>
            </a:lvl1pPr>
          </a:lstStyle>
          <a:p>
            <a:pPr lvl="0"/>
            <a:r>
              <a:rPr lang="en-US" dirty="0"/>
              <a:t>SECTION HEADER HERE</a:t>
            </a:r>
          </a:p>
        </p:txBody>
      </p:sp>
    </p:spTree>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n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0">
                <a:solidFill>
                  <a:srgbClr val="4F2D7F"/>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11" name="GTLogo" descr="GTlogo-horizontal-strapline-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9958" r="44795"/>
          <a:stretch/>
        </p:blipFill>
        <p:spPr>
          <a:xfrm>
            <a:off x="457200" y="4701884"/>
            <a:ext cx="1663085" cy="355891"/>
          </a:xfrm>
          <a:prstGeom prst="rect">
            <a:avLst/>
          </a:prstGeom>
        </p:spPr>
      </p:pic>
      <p:cxnSp>
        <p:nvCxnSpPr>
          <p:cNvPr id="12" name="Straight Connector 11"/>
          <p:cNvCxnSpPr/>
          <p:nvPr userDrawn="1"/>
        </p:nvCxnSpPr>
        <p:spPr>
          <a:xfrm>
            <a:off x="476251" y="4614196"/>
            <a:ext cx="1562099" cy="0"/>
          </a:xfrm>
          <a:prstGeom prst="line">
            <a:avLst/>
          </a:prstGeom>
          <a:ln w="19050" cap="rnd">
            <a:solidFill>
              <a:srgbClr val="471E82"/>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BBB6584E-9D20-4B22-A8D4-F4298A2ED1D5}"/>
              </a:ext>
            </a:extLst>
          </p:cNvPr>
          <p:cNvSpPr>
            <a:spLocks noGrp="1"/>
          </p:cNvSpPr>
          <p:nvPr>
            <p:ph type="sldNum" sz="quarter" idx="4"/>
          </p:nvPr>
        </p:nvSpPr>
        <p:spPr>
          <a:xfrm>
            <a:off x="8430768" y="4837176"/>
            <a:ext cx="365760" cy="201168"/>
          </a:xfrm>
          <a:prstGeom prst="rect">
            <a:avLst/>
          </a:prstGeom>
        </p:spPr>
        <p:txBody>
          <a:bodyPr anchor="b" anchorCtr="0"/>
          <a:lstStyle>
            <a:lvl1pPr algn="r">
              <a:defRPr sz="700"/>
            </a:lvl1pPr>
          </a:lstStyle>
          <a:p>
            <a:fld id="{0E0C512C-2A69-4D15-9349-877CDA6B8ABD}" type="slidenum">
              <a:rPr lang="en-GB" smtClean="0"/>
              <a:pPr/>
              <a:t>‹#›</a:t>
            </a:fld>
            <a:endParaRPr lang="en-GB" dirty="0"/>
          </a:p>
        </p:txBody>
      </p:sp>
      <p:sp>
        <p:nvSpPr>
          <p:cNvPr id="8" name="Copyright_GT">
            <a:extLst>
              <a:ext uri="{FF2B5EF4-FFF2-40B4-BE49-F238E27FC236}">
                <a16:creationId xmlns:a16="http://schemas.microsoft.com/office/drawing/2014/main" id="{991CF199-1191-4EFB-BDF9-3554B06E47A4}"/>
              </a:ext>
            </a:extLst>
          </p:cNvPr>
          <p:cNvSpPr txBox="1">
            <a:spLocks noChangeArrowheads="1"/>
          </p:cNvSpPr>
          <p:nvPr userDrawn="1"/>
        </p:nvSpPr>
        <p:spPr bwMode="auto">
          <a:xfrm>
            <a:off x="4517065" y="4901072"/>
            <a:ext cx="3971299" cy="205184"/>
          </a:xfrm>
          <a:prstGeom prst="rect">
            <a:avLst/>
          </a:prstGeom>
          <a:noFill/>
          <a:ln w="9525">
            <a:noFill/>
            <a:miter lim="800000"/>
            <a:headEnd/>
            <a:tailEnd/>
          </a:ln>
          <a:effectLst/>
        </p:spPr>
        <p:txBody>
          <a:bodyPr wrap="square" lIns="0" tIns="0" rIns="0" bIns="0" anchor="ctr">
            <a:spAutoFit/>
          </a:bodyPr>
          <a:lstStyle/>
          <a:p>
            <a:pPr algn="r" rtl="0"/>
            <a:r>
              <a:rPr lang="en-US" sz="500" b="0" i="0" u="none" strike="noStrike" baseline="0" smtClean="0">
                <a:solidFill>
                  <a:srgbClr val="000000"/>
                </a:solidFill>
                <a:latin typeface="Arial" panose="020B0604020202020204" pitchFamily="34" charset="0"/>
                <a:cs typeface="Arial" panose="020B0604020202020204" pitchFamily="34" charset="0"/>
              </a:rPr>
              <a:t>© 2017 Grant Thornton LLP  |  All rights reserved  | U.S. member firm of Grant Thornton International Ltd</a:t>
            </a:r>
          </a:p>
          <a:p>
            <a:pPr algn="r" rtl="0"/>
            <a:endParaRPr lang="en-US" sz="500" b="0" i="0" u="none" strike="noStrike" baseline="0" smtClean="0">
              <a:solidFill>
                <a:srgbClr val="000000"/>
              </a:solidFill>
              <a:latin typeface="Arial" panose="020B0604020202020204" pitchFamily="34" charset="0"/>
              <a:cs typeface="Arial" panose="020B0604020202020204" pitchFamily="34" charset="0"/>
            </a:endParaRPr>
          </a:p>
          <a:p>
            <a:pPr algn="r" rtl="0"/>
            <a:endParaRPr lang="en-US" sz="500" b="0" i="0" u="none" strike="noStrike" kern="1200" baseline="30000" dirty="0">
              <a:solidFill>
                <a:srgbClr val="000000"/>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034187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p:cNvSpPr>
            <a:spLocks noGrp="1" noChangeArrowheads="1"/>
          </p:cNvSpPr>
          <p:nvPr>
            <p:ph type="title"/>
          </p:nvPr>
        </p:nvSpPr>
        <p:spPr bwMode="auto">
          <a:xfrm>
            <a:off x="457200" y="400050"/>
            <a:ext cx="8229601" cy="7012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9" name="Text Placeholder"/>
          <p:cNvSpPr>
            <a:spLocks noGrp="1" noChangeArrowheads="1"/>
          </p:cNvSpPr>
          <p:nvPr>
            <p:ph type="body" idx="1"/>
          </p:nvPr>
        </p:nvSpPr>
        <p:spPr bwMode="auto">
          <a:xfrm>
            <a:off x="457201" y="1428749"/>
            <a:ext cx="8229600" cy="311733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5803528"/>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4" r:id="rId3"/>
    <p:sldLayoutId id="2147483753" r:id="rId4"/>
    <p:sldLayoutId id="2147483751" r:id="rId5"/>
    <p:sldLayoutId id="2147483754" r:id="rId6"/>
    <p:sldLayoutId id="2147483715" r:id="rId7"/>
    <p:sldLayoutId id="2147483755" r:id="rId8"/>
    <p:sldLayoutId id="2147483714" r:id="rId9"/>
    <p:sldLayoutId id="2147483756" r:id="rId10"/>
    <p:sldLayoutId id="2147483719" r:id="rId11"/>
    <p:sldLayoutId id="2147483726" r:id="rId12"/>
    <p:sldLayoutId id="2147483743" r:id="rId13"/>
    <p:sldLayoutId id="2147483757" r:id="rId14"/>
    <p:sldLayoutId id="2147483717" r:id="rId15"/>
    <p:sldLayoutId id="2147483689" r:id="rId16"/>
    <p:sldLayoutId id="2147483758" r:id="rId17"/>
  </p:sldLayoutIdLst>
  <p:hf hdr="0" ftr="0" dt="0"/>
  <p:txStyles>
    <p:titleStyle>
      <a:lvl1pPr algn="l" rtl="0" eaLnBrk="1" fontAlgn="base" hangingPunct="1">
        <a:lnSpc>
          <a:spcPct val="85000"/>
        </a:lnSpc>
        <a:spcBef>
          <a:spcPct val="0"/>
        </a:spcBef>
        <a:spcAft>
          <a:spcPct val="0"/>
        </a:spcAft>
        <a:defRPr sz="3600" b="1" i="0">
          <a:solidFill>
            <a:srgbClr val="4F2D7F"/>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spcBef>
          <a:spcPct val="0"/>
        </a:spcBef>
        <a:spcAft>
          <a:spcPct val="0"/>
        </a:spcAft>
        <a:defRPr sz="2800">
          <a:solidFill>
            <a:schemeClr val="tx2"/>
          </a:solidFill>
          <a:latin typeface="Arial" charset="0"/>
        </a:defRPr>
      </a:lvl2pPr>
      <a:lvl3pPr algn="l" rtl="0" eaLnBrk="1" fontAlgn="base" hangingPunct="1">
        <a:spcBef>
          <a:spcPct val="0"/>
        </a:spcBef>
        <a:spcAft>
          <a:spcPct val="0"/>
        </a:spcAft>
        <a:defRPr sz="2800">
          <a:solidFill>
            <a:schemeClr val="tx2"/>
          </a:solidFill>
          <a:latin typeface="Arial" charset="0"/>
        </a:defRPr>
      </a:lvl3pPr>
      <a:lvl4pPr algn="l" rtl="0" eaLnBrk="1" fontAlgn="base" hangingPunct="1">
        <a:spcBef>
          <a:spcPct val="0"/>
        </a:spcBef>
        <a:spcAft>
          <a:spcPct val="0"/>
        </a:spcAft>
        <a:defRPr sz="2800">
          <a:solidFill>
            <a:schemeClr val="tx2"/>
          </a:solidFill>
          <a:latin typeface="Arial" charset="0"/>
        </a:defRPr>
      </a:lvl4pPr>
      <a:lvl5pPr algn="l" rtl="0" eaLnBrk="1" fontAlgn="base" hangingPunct="1">
        <a:spcBef>
          <a:spcPct val="0"/>
        </a:spcBef>
        <a:spcAft>
          <a:spcPct val="0"/>
        </a:spcAft>
        <a:defRPr sz="2800">
          <a:solidFill>
            <a:schemeClr val="tx2"/>
          </a:solidFill>
          <a:latin typeface="Arial" charset="0"/>
        </a:defRPr>
      </a:lvl5pPr>
      <a:lvl6pPr marL="457200" algn="l" rtl="0" eaLnBrk="1" fontAlgn="base" hangingPunct="1">
        <a:spcBef>
          <a:spcPct val="0"/>
        </a:spcBef>
        <a:spcAft>
          <a:spcPct val="0"/>
        </a:spcAft>
        <a:defRPr sz="2800">
          <a:solidFill>
            <a:schemeClr val="tx2"/>
          </a:solidFill>
          <a:latin typeface="Arial" charset="0"/>
        </a:defRPr>
      </a:lvl6pPr>
      <a:lvl7pPr marL="914400" algn="l" rtl="0" eaLnBrk="1" fontAlgn="base" hangingPunct="1">
        <a:spcBef>
          <a:spcPct val="0"/>
        </a:spcBef>
        <a:spcAft>
          <a:spcPct val="0"/>
        </a:spcAft>
        <a:defRPr sz="2800">
          <a:solidFill>
            <a:schemeClr val="tx2"/>
          </a:solidFill>
          <a:latin typeface="Arial" charset="0"/>
        </a:defRPr>
      </a:lvl7pPr>
      <a:lvl8pPr marL="1371600" algn="l" rtl="0" eaLnBrk="1" fontAlgn="base" hangingPunct="1">
        <a:spcBef>
          <a:spcPct val="0"/>
        </a:spcBef>
        <a:spcAft>
          <a:spcPct val="0"/>
        </a:spcAft>
        <a:defRPr sz="2800">
          <a:solidFill>
            <a:schemeClr val="tx2"/>
          </a:solidFill>
          <a:latin typeface="Arial" charset="0"/>
        </a:defRPr>
      </a:lvl8pPr>
      <a:lvl9pPr marL="1828800" algn="l" rtl="0" eaLnBrk="1" fontAlgn="base" hangingPunct="1">
        <a:spcBef>
          <a:spcPct val="0"/>
        </a:spcBef>
        <a:spcAft>
          <a:spcPct val="0"/>
        </a:spcAft>
        <a:defRPr sz="2800">
          <a:solidFill>
            <a:schemeClr val="tx2"/>
          </a:solidFill>
          <a:latin typeface="Arial" charset="0"/>
        </a:defRPr>
      </a:lvl9pPr>
    </p:titleStyle>
    <p:bodyStyle>
      <a:lvl1pPr marL="285750" indent="-285750" algn="l" rtl="0" eaLnBrk="1" fontAlgn="base" hangingPunct="1">
        <a:spcBef>
          <a:spcPct val="20000"/>
        </a:spcBef>
        <a:spcAft>
          <a:spcPct val="0"/>
        </a:spcAft>
        <a:buFont typeface="Arial" panose="020B0604020202020204" pitchFamily="34" charset="0"/>
        <a:buChar char="•"/>
        <a:defRPr sz="18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1pPr>
      <a:lvl2pPr marL="742950" indent="-285750" algn="l" rtl="0" eaLnBrk="1" fontAlgn="base" hangingPunct="1">
        <a:spcBef>
          <a:spcPct val="20000"/>
        </a:spcBef>
        <a:spcAft>
          <a:spcPct val="0"/>
        </a:spcAft>
        <a:buFont typeface="Arial"/>
        <a:buChar char="•"/>
        <a:defRPr sz="18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2pPr>
      <a:lvl3pPr marL="1200150" indent="-285750" algn="l" rtl="0" eaLnBrk="1" fontAlgn="base" hangingPunct="1">
        <a:spcBef>
          <a:spcPct val="20000"/>
        </a:spcBef>
        <a:spcAft>
          <a:spcPct val="0"/>
        </a:spcAft>
        <a:buFont typeface="Arial"/>
        <a:buChar char="•"/>
        <a:defRPr sz="18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3pPr>
      <a:lvl4pPr marL="1657350" indent="-285750" algn="l" rtl="0" eaLnBrk="1" fontAlgn="base" hangingPunct="1">
        <a:spcBef>
          <a:spcPct val="20000"/>
        </a:spcBef>
        <a:spcAft>
          <a:spcPct val="0"/>
        </a:spcAft>
        <a:buFont typeface="Arial"/>
        <a:buChar char="•"/>
        <a:defRPr sz="18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4pPr>
      <a:lvl5pPr marL="2114550" indent="-285750" algn="l" rtl="0" eaLnBrk="1" fontAlgn="base" hangingPunct="1">
        <a:spcBef>
          <a:spcPct val="20000"/>
        </a:spcBef>
        <a:spcAft>
          <a:spcPct val="0"/>
        </a:spcAft>
        <a:buFont typeface="Arial"/>
        <a:buChar char="•"/>
        <a:defRPr sz="18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5pPr>
      <a:lvl6pPr marL="2514600" indent="-228600" algn="l" rtl="0" eaLnBrk="1" fontAlgn="base" hangingPunct="1">
        <a:spcBef>
          <a:spcPct val="20000"/>
        </a:spcBef>
        <a:spcAft>
          <a:spcPct val="0"/>
        </a:spcAft>
        <a:buChar char="»"/>
        <a:defRPr sz="2800">
          <a:solidFill>
            <a:schemeClr val="tx1"/>
          </a:solidFill>
          <a:latin typeface="+mn-lt"/>
        </a:defRPr>
      </a:lvl6pPr>
      <a:lvl7pPr marL="2971800" indent="-228600" algn="l" rtl="0" eaLnBrk="1" fontAlgn="base" hangingPunct="1">
        <a:spcBef>
          <a:spcPct val="20000"/>
        </a:spcBef>
        <a:spcAft>
          <a:spcPct val="0"/>
        </a:spcAft>
        <a:buChar char="»"/>
        <a:defRPr sz="2800">
          <a:solidFill>
            <a:schemeClr val="tx1"/>
          </a:solidFill>
          <a:latin typeface="+mn-lt"/>
        </a:defRPr>
      </a:lvl7pPr>
      <a:lvl8pPr marL="3429000" indent="-228600" algn="l" rtl="0" eaLnBrk="1" fontAlgn="base" hangingPunct="1">
        <a:spcBef>
          <a:spcPct val="20000"/>
        </a:spcBef>
        <a:spcAft>
          <a:spcPct val="0"/>
        </a:spcAft>
        <a:buChar char="»"/>
        <a:defRPr sz="2800">
          <a:solidFill>
            <a:schemeClr val="tx1"/>
          </a:solidFill>
          <a:latin typeface="+mn-lt"/>
        </a:defRPr>
      </a:lvl8pPr>
      <a:lvl9pPr marL="3886200" indent="-228600" algn="l" rtl="0" eaLnBrk="1" fontAlgn="base" hangingPunct="1">
        <a:spcBef>
          <a:spcPct val="20000"/>
        </a:spcBef>
        <a:spcAft>
          <a:spcPct val="0"/>
        </a:spcAft>
        <a:buChar char="»"/>
        <a:defRPr sz="28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16">
          <p15:clr>
            <a:srgbClr val="F26B43"/>
          </p15:clr>
        </p15:guide>
        <p15:guide id="2" pos="288">
          <p15:clr>
            <a:srgbClr val="F26B43"/>
          </p15:clr>
        </p15:guide>
        <p15:guide id="3" pos="5472">
          <p15:clr>
            <a:srgbClr val="F26B43"/>
          </p15:clr>
        </p15:guide>
        <p15:guide id="4" orient="horz" pos="252">
          <p15:clr>
            <a:srgbClr val="F26B43"/>
          </p15:clr>
        </p15:guide>
        <p15:guide id="5" pos="648">
          <p15:clr>
            <a:srgbClr val="F26B43"/>
          </p15:clr>
        </p15:guide>
        <p15:guide id="6" pos="720">
          <p15:clr>
            <a:srgbClr val="F26B43"/>
          </p15:clr>
        </p15:guide>
        <p15:guide id="7" pos="1080">
          <p15:clr>
            <a:srgbClr val="F26B43"/>
          </p15:clr>
        </p15:guide>
        <p15:guide id="8" pos="2928">
          <p15:clr>
            <a:srgbClr val="F26B43"/>
          </p15:clr>
        </p15:guide>
        <p15:guide id="9" pos="1152">
          <p15:clr>
            <a:srgbClr val="F26B43"/>
          </p15:clr>
        </p15:guide>
        <p15:guide id="10" pos="1536">
          <p15:clr>
            <a:srgbClr val="F26B43"/>
          </p15:clr>
        </p15:guide>
        <p15:guide id="11" pos="1608">
          <p15:clr>
            <a:srgbClr val="F26B43"/>
          </p15:clr>
        </p15:guide>
        <p15:guide id="12" pos="1968">
          <p15:clr>
            <a:srgbClr val="F26B43"/>
          </p15:clr>
        </p15:guide>
        <p15:guide id="13" pos="2040">
          <p15:clr>
            <a:srgbClr val="F26B43"/>
          </p15:clr>
        </p15:guide>
        <p15:guide id="14" pos="2400">
          <p15:clr>
            <a:srgbClr val="F26B43"/>
          </p15:clr>
        </p15:guide>
        <p15:guide id="15" pos="2472">
          <p15:clr>
            <a:srgbClr val="F26B43"/>
          </p15:clr>
        </p15:guide>
        <p15:guide id="16" pos="2856">
          <p15:clr>
            <a:srgbClr val="F26B43"/>
          </p15:clr>
        </p15:guide>
        <p15:guide id="17" pos="3288">
          <p15:clr>
            <a:srgbClr val="F26B43"/>
          </p15:clr>
        </p15:guide>
        <p15:guide id="18" pos="3360">
          <p15:clr>
            <a:srgbClr val="F26B43"/>
          </p15:clr>
        </p15:guide>
        <p15:guide id="19" pos="3720">
          <p15:clr>
            <a:srgbClr val="F26B43"/>
          </p15:clr>
        </p15:guide>
        <p15:guide id="20" pos="3792">
          <p15:clr>
            <a:srgbClr val="F26B43"/>
          </p15:clr>
        </p15:guide>
        <p15:guide id="21" pos="4152">
          <p15:clr>
            <a:srgbClr val="F26B43"/>
          </p15:clr>
        </p15:guide>
        <p15:guide id="22" pos="4224">
          <p15:clr>
            <a:srgbClr val="F26B43"/>
          </p15:clr>
        </p15:guide>
        <p15:guide id="23" pos="4608">
          <p15:clr>
            <a:srgbClr val="F26B43"/>
          </p15:clr>
        </p15:guide>
        <p15:guide id="24" pos="4680">
          <p15:clr>
            <a:srgbClr val="F26B43"/>
          </p15:clr>
        </p15:guide>
        <p15:guide id="25" pos="5040">
          <p15:clr>
            <a:srgbClr val="F26B43"/>
          </p15:clr>
        </p15:guide>
        <p15:guide id="26" pos="5112">
          <p15:clr>
            <a:srgbClr val="F26B43"/>
          </p15:clr>
        </p15:guide>
        <p15:guide id="27" orient="horz" pos="636">
          <p15:clr>
            <a:srgbClr val="F26B43"/>
          </p15:clr>
        </p15:guide>
        <p15:guide id="28" orient="horz" pos="1020">
          <p15:clr>
            <a:srgbClr val="F26B43"/>
          </p15:clr>
        </p15:guide>
        <p15:guide id="29" orient="horz" pos="1380">
          <p15:clr>
            <a:srgbClr val="F26B43"/>
          </p15:clr>
        </p15:guide>
        <p15:guide id="30" orient="horz" pos="1764">
          <p15:clr>
            <a:srgbClr val="F26B43"/>
          </p15:clr>
        </p15:guide>
        <p15:guide id="31" orient="horz" pos="2148">
          <p15:clr>
            <a:srgbClr val="F26B43"/>
          </p15:clr>
        </p15:guide>
        <p15:guide id="32" orient="horz" pos="25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9.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Layout" Target="../diagrams/layout5.xml"/><Relationship Id="rId7" Type="http://schemas.openxmlformats.org/officeDocument/2006/relationships/image" Target="../media/image35.png"/><Relationship Id="rId2" Type="http://schemas.openxmlformats.org/officeDocument/2006/relationships/diagramData" Target="../diagrams/data5.xml"/><Relationship Id="rId1" Type="http://schemas.openxmlformats.org/officeDocument/2006/relationships/slideLayout" Target="../slideLayouts/slideLayout9.xml"/><Relationship Id="rId6" Type="http://schemas.microsoft.com/office/2007/relationships/diagramDrawing" Target="../diagrams/drawing5.xml"/><Relationship Id="rId5" Type="http://schemas.openxmlformats.org/officeDocument/2006/relationships/diagramColors" Target="../diagrams/colors5.xml"/><Relationship Id="rId10" Type="http://schemas.openxmlformats.org/officeDocument/2006/relationships/image" Target="../media/image38.png"/><Relationship Id="rId4" Type="http://schemas.openxmlformats.org/officeDocument/2006/relationships/diagramQuickStyle" Target="../diagrams/quickStyle5.xml"/><Relationship Id="rId9"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3.xml"/><Relationship Id="rId7" Type="http://schemas.openxmlformats.org/officeDocument/2006/relationships/slideLayout" Target="../slideLayouts/slideLayout9.xml"/><Relationship Id="rId12" Type="http://schemas.openxmlformats.org/officeDocument/2006/relationships/image" Target="../media/image4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2.png"/><Relationship Id="rId5" Type="http://schemas.openxmlformats.org/officeDocument/2006/relationships/tags" Target="../tags/tag5.xml"/><Relationship Id="rId10" Type="http://schemas.openxmlformats.org/officeDocument/2006/relationships/image" Target="../media/image41.png"/><Relationship Id="rId4" Type="http://schemas.openxmlformats.org/officeDocument/2006/relationships/tags" Target="../tags/tag4.xml"/><Relationship Id="rId9" Type="http://schemas.openxmlformats.org/officeDocument/2006/relationships/image" Target="../media/image4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9.xml"/><Relationship Id="rId5" Type="http://schemas.openxmlformats.org/officeDocument/2006/relationships/image" Target="../media/image17.jpe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jp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Layout" Target="../diagrams/layout1.xml"/><Relationship Id="rId7" Type="http://schemas.openxmlformats.org/officeDocument/2006/relationships/image" Target="../media/image19.png"/><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22.png"/><Relationship Id="rId4" Type="http://schemas.openxmlformats.org/officeDocument/2006/relationships/diagramQuickStyle" Target="../diagrams/quickStyle1.xml"/><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a:xfrm>
            <a:off x="767677" y="1342039"/>
            <a:ext cx="7869239" cy="1828800"/>
          </a:xfrm>
        </p:spPr>
        <p:txBody>
          <a:bodyPr/>
          <a:lstStyle/>
          <a:p>
            <a:r>
              <a:rPr lang="en-US" dirty="0"/>
              <a:t>Keeping Data Safe: The need for Information Governance and Information Security to work together</a:t>
            </a:r>
            <a:r>
              <a:rPr lang="en-US" dirty="0">
                <a:latin typeface="Arial"/>
              </a:rPr>
              <a:t/>
            </a:r>
            <a:br>
              <a:rPr lang="en-US" dirty="0">
                <a:latin typeface="Arial"/>
              </a:rPr>
            </a:br>
            <a:r>
              <a:rPr lang="en-US" dirty="0">
                <a:latin typeface="Arial"/>
              </a:rPr>
              <a:t/>
            </a:r>
            <a:br>
              <a:rPr lang="en-US" dirty="0">
                <a:latin typeface="Arial"/>
              </a:rPr>
            </a:br>
            <a:r>
              <a:rPr lang="en-US" sz="2400" dirty="0"/>
              <a:t>ARMA NOVA</a:t>
            </a:r>
            <a:br>
              <a:rPr lang="en-US" sz="2400" dirty="0"/>
            </a:br>
            <a:r>
              <a:rPr lang="en-US" sz="2400" dirty="0"/>
              <a:t>Elizabeth W. Adkins, CRM, IGP, CA Emeritus</a:t>
            </a:r>
            <a:br>
              <a:rPr lang="en-US" sz="2400" dirty="0"/>
            </a:br>
            <a:r>
              <a:rPr lang="en-US" sz="1800" dirty="0">
                <a:solidFill>
                  <a:srgbClr val="FFFFFF"/>
                </a:solidFill>
              </a:rPr>
              <a:t>March 28, 2018</a:t>
            </a:r>
            <a:endParaRPr lang="en-US" sz="1800" dirty="0"/>
          </a:p>
        </p:txBody>
      </p:sp>
    </p:spTree>
    <p:extLst>
      <p:ext uri="{BB962C8B-B14F-4D97-AF65-F5344CB8AC3E}">
        <p14:creationId xmlns:p14="http://schemas.microsoft.com/office/powerpoint/2010/main" val="32284530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cus of IG workshop questions</a:t>
            </a:r>
          </a:p>
        </p:txBody>
      </p:sp>
      <p:sp>
        <p:nvSpPr>
          <p:cNvPr id="3" name="Slide Number Placeholder 2"/>
          <p:cNvSpPr>
            <a:spLocks noGrp="1"/>
          </p:cNvSpPr>
          <p:nvPr>
            <p:ph type="sldNum" sz="quarter" idx="4"/>
          </p:nvPr>
        </p:nvSpPr>
        <p:spPr/>
        <p:txBody>
          <a:bodyPr/>
          <a:lstStyle/>
          <a:p>
            <a:fld id="{0E0C512C-2A69-4D15-9349-877CDA6B8ABD}" type="slidenum">
              <a:rPr lang="en-GB" smtClean="0"/>
              <a:pPr/>
              <a:t>10</a:t>
            </a:fld>
            <a:endParaRPr lang="en-GB" dirty="0"/>
          </a:p>
        </p:txBody>
      </p:sp>
      <p:sp>
        <p:nvSpPr>
          <p:cNvPr id="5" name="Rectangle 4"/>
          <p:cNvSpPr/>
          <p:nvPr/>
        </p:nvSpPr>
        <p:spPr bwMode="auto">
          <a:xfrm>
            <a:off x="588884" y="862945"/>
            <a:ext cx="3040062" cy="594360"/>
          </a:xfrm>
          <a:prstGeom prst="rect">
            <a:avLst/>
          </a:prstGeom>
          <a:solidFill>
            <a:srgbClr val="4B2A7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85000"/>
              </a:lnSpc>
              <a:spcBef>
                <a:spcPts val="400"/>
              </a:spcBef>
              <a:buClr>
                <a:srgbClr val="EE2525"/>
              </a:buClr>
            </a:pPr>
            <a:r>
              <a:rPr lang="en-US" sz="1600" b="1" kern="0" dirty="0">
                <a:solidFill>
                  <a:schemeClr val="bg1"/>
                </a:solidFill>
                <a:latin typeface="Arial"/>
                <a:ea typeface="+mn-ea"/>
              </a:rPr>
              <a:t>LOB description</a:t>
            </a:r>
          </a:p>
        </p:txBody>
      </p:sp>
      <p:sp>
        <p:nvSpPr>
          <p:cNvPr id="6" name="Rectangle 5"/>
          <p:cNvSpPr/>
          <p:nvPr/>
        </p:nvSpPr>
        <p:spPr bwMode="auto">
          <a:xfrm>
            <a:off x="607453" y="1654825"/>
            <a:ext cx="3040062" cy="594360"/>
          </a:xfrm>
          <a:prstGeom prst="rect">
            <a:avLst/>
          </a:prstGeom>
          <a:solidFill>
            <a:srgbClr val="C8BEA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85000"/>
              </a:lnSpc>
              <a:spcBef>
                <a:spcPts val="400"/>
              </a:spcBef>
              <a:buClr>
                <a:srgbClr val="EE2525"/>
              </a:buClr>
            </a:pPr>
            <a:r>
              <a:rPr lang="en-US" sz="1600" b="1" kern="0" dirty="0">
                <a:solidFill>
                  <a:schemeClr val="bg1"/>
                </a:solidFill>
                <a:latin typeface="Arial"/>
                <a:ea typeface="+mn-ea"/>
              </a:rPr>
              <a:t>Typical LOB content descriptions</a:t>
            </a:r>
          </a:p>
        </p:txBody>
      </p:sp>
      <p:sp>
        <p:nvSpPr>
          <p:cNvPr id="7" name="Rectangle 6"/>
          <p:cNvSpPr/>
          <p:nvPr/>
        </p:nvSpPr>
        <p:spPr bwMode="auto">
          <a:xfrm>
            <a:off x="600908" y="2446705"/>
            <a:ext cx="3040062" cy="594360"/>
          </a:xfrm>
          <a:prstGeom prst="rect">
            <a:avLst/>
          </a:prstGeom>
          <a:solidFill>
            <a:srgbClr val="FF7D1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90000"/>
              </a:lnSpc>
              <a:spcBef>
                <a:spcPct val="40000"/>
              </a:spcBef>
              <a:buClr>
                <a:srgbClr val="EE2525"/>
              </a:buClr>
            </a:pPr>
            <a:r>
              <a:rPr lang="en-US" sz="1600" b="1" kern="0" dirty="0">
                <a:solidFill>
                  <a:schemeClr val="bg1"/>
                </a:solidFill>
                <a:latin typeface="Arial"/>
                <a:ea typeface="+mn-ea"/>
              </a:rPr>
              <a:t>Pain points</a:t>
            </a:r>
          </a:p>
        </p:txBody>
      </p:sp>
      <p:sp>
        <p:nvSpPr>
          <p:cNvPr id="8" name="Rectangle 7"/>
          <p:cNvSpPr/>
          <p:nvPr/>
        </p:nvSpPr>
        <p:spPr bwMode="auto">
          <a:xfrm>
            <a:off x="600908" y="3258689"/>
            <a:ext cx="3040062" cy="594360"/>
          </a:xfrm>
          <a:prstGeom prst="rect">
            <a:avLst/>
          </a:prstGeom>
          <a:solidFill>
            <a:srgbClr val="E6284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85000"/>
              </a:lnSpc>
              <a:spcBef>
                <a:spcPts val="400"/>
              </a:spcBef>
              <a:buClr>
                <a:srgbClr val="EE2525"/>
              </a:buClr>
            </a:pPr>
            <a:r>
              <a:rPr lang="en-US" sz="1600" b="1" kern="0" dirty="0">
                <a:solidFill>
                  <a:schemeClr val="bg1"/>
                </a:solidFill>
                <a:latin typeface="Arial"/>
                <a:ea typeface="+mn-ea"/>
              </a:rPr>
              <a:t>Document creation, review,</a:t>
            </a:r>
            <a:br>
              <a:rPr lang="en-US" sz="1600" b="1" kern="0" dirty="0">
                <a:solidFill>
                  <a:schemeClr val="bg1"/>
                </a:solidFill>
                <a:latin typeface="Arial"/>
                <a:ea typeface="+mn-ea"/>
              </a:rPr>
            </a:br>
            <a:r>
              <a:rPr lang="en-US" sz="1600" b="1" kern="0" dirty="0">
                <a:solidFill>
                  <a:schemeClr val="bg1"/>
                </a:solidFill>
                <a:latin typeface="Arial"/>
                <a:ea typeface="+mn-ea"/>
              </a:rPr>
              <a:t>approval processes</a:t>
            </a:r>
          </a:p>
        </p:txBody>
      </p:sp>
      <p:sp>
        <p:nvSpPr>
          <p:cNvPr id="9" name="Rectangle 8"/>
          <p:cNvSpPr/>
          <p:nvPr/>
        </p:nvSpPr>
        <p:spPr bwMode="auto">
          <a:xfrm>
            <a:off x="623363" y="4051514"/>
            <a:ext cx="3040062" cy="594360"/>
          </a:xfrm>
          <a:prstGeom prst="rect">
            <a:avLst/>
          </a:prstGeom>
          <a:solidFill>
            <a:srgbClr val="00A7B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85000"/>
              </a:lnSpc>
              <a:spcBef>
                <a:spcPts val="400"/>
              </a:spcBef>
              <a:buClr>
                <a:srgbClr val="EE2525"/>
              </a:buClr>
            </a:pPr>
            <a:r>
              <a:rPr lang="en-US" sz="1600" b="1" kern="0" dirty="0">
                <a:solidFill>
                  <a:schemeClr val="bg1"/>
                </a:solidFill>
                <a:latin typeface="Arial"/>
                <a:ea typeface="+mn-ea"/>
              </a:rPr>
              <a:t>Where/how content is currently stored</a:t>
            </a:r>
          </a:p>
        </p:txBody>
      </p:sp>
      <p:sp>
        <p:nvSpPr>
          <p:cNvPr id="10" name="Rectangle 9"/>
          <p:cNvSpPr/>
          <p:nvPr/>
        </p:nvSpPr>
        <p:spPr bwMode="auto">
          <a:xfrm>
            <a:off x="4822070" y="848653"/>
            <a:ext cx="3040062" cy="594360"/>
          </a:xfrm>
          <a:prstGeom prst="rect">
            <a:avLst/>
          </a:prstGeom>
          <a:solidFill>
            <a:srgbClr val="4B2A7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85000"/>
              </a:lnSpc>
              <a:spcBef>
                <a:spcPts val="400"/>
              </a:spcBef>
              <a:buClr>
                <a:srgbClr val="EE2525"/>
              </a:buClr>
            </a:pPr>
            <a:r>
              <a:rPr lang="en-US" sz="1600" b="1" kern="0" dirty="0">
                <a:solidFill>
                  <a:schemeClr val="bg1"/>
                </a:solidFill>
                <a:latin typeface="Arial"/>
                <a:ea typeface="+mn-ea"/>
              </a:rPr>
              <a:t>Naming conventions or folder taxonomies</a:t>
            </a:r>
          </a:p>
        </p:txBody>
      </p:sp>
      <p:sp>
        <p:nvSpPr>
          <p:cNvPr id="11" name="Rectangle 10"/>
          <p:cNvSpPr/>
          <p:nvPr/>
        </p:nvSpPr>
        <p:spPr bwMode="auto">
          <a:xfrm>
            <a:off x="4796855" y="1651057"/>
            <a:ext cx="3040062" cy="594360"/>
          </a:xfrm>
          <a:prstGeom prst="rect">
            <a:avLst/>
          </a:prstGeom>
          <a:solidFill>
            <a:srgbClr val="C8BEA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90000"/>
              </a:lnSpc>
              <a:spcBef>
                <a:spcPct val="40000"/>
              </a:spcBef>
              <a:buClr>
                <a:srgbClr val="EE2525"/>
              </a:buClr>
            </a:pPr>
            <a:r>
              <a:rPr lang="en-US" sz="1600" b="1" kern="0" dirty="0">
                <a:solidFill>
                  <a:schemeClr val="bg1"/>
                </a:solidFill>
                <a:latin typeface="Arial"/>
                <a:ea typeface="+mn-ea"/>
              </a:rPr>
              <a:t>Versioning</a:t>
            </a:r>
          </a:p>
        </p:txBody>
      </p:sp>
      <p:sp>
        <p:nvSpPr>
          <p:cNvPr id="12" name="Rectangle 11"/>
          <p:cNvSpPr/>
          <p:nvPr/>
        </p:nvSpPr>
        <p:spPr bwMode="auto">
          <a:xfrm>
            <a:off x="4822070" y="2446705"/>
            <a:ext cx="3040062" cy="594360"/>
          </a:xfrm>
          <a:prstGeom prst="rect">
            <a:avLst/>
          </a:prstGeom>
          <a:solidFill>
            <a:srgbClr val="FF7D1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85000"/>
              </a:lnSpc>
              <a:spcBef>
                <a:spcPts val="400"/>
              </a:spcBef>
              <a:buClr>
                <a:srgbClr val="EE2525"/>
              </a:buClr>
            </a:pPr>
            <a:r>
              <a:rPr lang="en-US" sz="1600" b="1" kern="0" dirty="0">
                <a:solidFill>
                  <a:schemeClr val="bg1"/>
                </a:solidFill>
                <a:latin typeface="Arial"/>
                <a:ea typeface="+mn-ea"/>
              </a:rPr>
              <a:t>Regulatory considerations</a:t>
            </a:r>
          </a:p>
        </p:txBody>
      </p:sp>
      <p:sp>
        <p:nvSpPr>
          <p:cNvPr id="13" name="Rectangle 12"/>
          <p:cNvSpPr/>
          <p:nvPr/>
        </p:nvSpPr>
        <p:spPr bwMode="auto">
          <a:xfrm>
            <a:off x="4822070" y="3258689"/>
            <a:ext cx="3040062" cy="594360"/>
          </a:xfrm>
          <a:prstGeom prst="rect">
            <a:avLst/>
          </a:prstGeom>
          <a:solidFill>
            <a:srgbClr val="E6284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90000"/>
              </a:lnSpc>
              <a:spcBef>
                <a:spcPct val="40000"/>
              </a:spcBef>
              <a:buClr>
                <a:srgbClr val="EE2525"/>
              </a:buClr>
            </a:pPr>
            <a:r>
              <a:rPr lang="en-US" sz="1600" b="1" kern="0" spc="-10" dirty="0">
                <a:solidFill>
                  <a:schemeClr val="bg1"/>
                </a:solidFill>
                <a:latin typeface="Arial"/>
                <a:ea typeface="+mn-ea"/>
              </a:rPr>
              <a:t>Sharing/collaboration needs</a:t>
            </a:r>
          </a:p>
        </p:txBody>
      </p:sp>
      <p:sp>
        <p:nvSpPr>
          <p:cNvPr id="14" name="Rectangle 13"/>
          <p:cNvSpPr/>
          <p:nvPr/>
        </p:nvSpPr>
        <p:spPr bwMode="auto">
          <a:xfrm>
            <a:off x="4870097" y="4051514"/>
            <a:ext cx="3040062" cy="594360"/>
          </a:xfrm>
          <a:prstGeom prst="rect">
            <a:avLst/>
          </a:prstGeom>
          <a:solidFill>
            <a:srgbClr val="00A7B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l" defTabSz="944563" eaLnBrk="1" hangingPunct="1">
              <a:lnSpc>
                <a:spcPct val="90000"/>
              </a:lnSpc>
              <a:spcBef>
                <a:spcPct val="40000"/>
              </a:spcBef>
              <a:buClr>
                <a:srgbClr val="EE2525"/>
              </a:buClr>
            </a:pPr>
            <a:r>
              <a:rPr lang="en-US" sz="1600" b="1" kern="0" dirty="0">
                <a:solidFill>
                  <a:schemeClr val="bg1"/>
                </a:solidFill>
                <a:latin typeface="Arial"/>
                <a:ea typeface="+mn-ea"/>
              </a:rPr>
              <a:t>Security requirements</a:t>
            </a:r>
          </a:p>
        </p:txBody>
      </p:sp>
      <p:grpSp>
        <p:nvGrpSpPr>
          <p:cNvPr id="15" name="Group 14"/>
          <p:cNvGrpSpPr/>
          <p:nvPr/>
        </p:nvGrpSpPr>
        <p:grpSpPr>
          <a:xfrm>
            <a:off x="7972293" y="1839396"/>
            <a:ext cx="502385" cy="182563"/>
            <a:chOff x="6959187" y="122519"/>
            <a:chExt cx="581020" cy="211139"/>
          </a:xfrm>
        </p:grpSpPr>
        <p:sp>
          <p:nvSpPr>
            <p:cNvPr id="16" name="Freeform 17"/>
            <p:cNvSpPr>
              <a:spLocks/>
            </p:cNvSpPr>
            <p:nvPr/>
          </p:nvSpPr>
          <p:spPr bwMode="auto">
            <a:xfrm>
              <a:off x="7314783" y="276508"/>
              <a:ext cx="57150" cy="57150"/>
            </a:xfrm>
            <a:custGeom>
              <a:avLst/>
              <a:gdLst>
                <a:gd name="T0" fmla="*/ 0 w 69"/>
                <a:gd name="T1" fmla="*/ 36 h 71"/>
                <a:gd name="T2" fmla="*/ 34 w 69"/>
                <a:gd name="T3" fmla="*/ 0 h 71"/>
                <a:gd name="T4" fmla="*/ 69 w 69"/>
                <a:gd name="T5" fmla="*/ 36 h 71"/>
                <a:gd name="T6" fmla="*/ 34 w 69"/>
                <a:gd name="T7" fmla="*/ 71 h 71"/>
                <a:gd name="T8" fmla="*/ 0 w 69"/>
                <a:gd name="T9" fmla="*/ 36 h 71"/>
              </a:gdLst>
              <a:ahLst/>
              <a:cxnLst>
                <a:cxn ang="0">
                  <a:pos x="T0" y="T1"/>
                </a:cxn>
                <a:cxn ang="0">
                  <a:pos x="T2" y="T3"/>
                </a:cxn>
                <a:cxn ang="0">
                  <a:pos x="T4" y="T5"/>
                </a:cxn>
                <a:cxn ang="0">
                  <a:pos x="T6" y="T7"/>
                </a:cxn>
                <a:cxn ang="0">
                  <a:pos x="T8" y="T9"/>
                </a:cxn>
              </a:cxnLst>
              <a:rect l="0" t="0" r="r" b="b"/>
              <a:pathLst>
                <a:path w="69" h="71">
                  <a:moveTo>
                    <a:pt x="0" y="36"/>
                  </a:moveTo>
                  <a:cubicBezTo>
                    <a:pt x="0" y="14"/>
                    <a:pt x="14" y="0"/>
                    <a:pt x="34" y="0"/>
                  </a:cubicBezTo>
                  <a:cubicBezTo>
                    <a:pt x="54" y="0"/>
                    <a:pt x="68" y="14"/>
                    <a:pt x="69" y="36"/>
                  </a:cubicBezTo>
                  <a:cubicBezTo>
                    <a:pt x="69" y="56"/>
                    <a:pt x="55" y="71"/>
                    <a:pt x="34" y="71"/>
                  </a:cubicBezTo>
                  <a:cubicBezTo>
                    <a:pt x="14" y="71"/>
                    <a:pt x="0" y="56"/>
                    <a:pt x="0"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p:cNvSpPr>
            <p:nvPr/>
          </p:nvSpPr>
          <p:spPr bwMode="auto">
            <a:xfrm>
              <a:off x="7394157" y="122519"/>
              <a:ext cx="146050" cy="207962"/>
            </a:xfrm>
            <a:custGeom>
              <a:avLst/>
              <a:gdLst>
                <a:gd name="T0" fmla="*/ 0 w 177"/>
                <a:gd name="T1" fmla="*/ 254 h 254"/>
                <a:gd name="T2" fmla="*/ 0 w 177"/>
                <a:gd name="T3" fmla="*/ 218 h 254"/>
                <a:gd name="T4" fmla="*/ 32 w 177"/>
                <a:gd name="T5" fmla="*/ 190 h 254"/>
                <a:gd name="T6" fmla="*/ 114 w 177"/>
                <a:gd name="T7" fmla="*/ 83 h 254"/>
                <a:gd name="T8" fmla="*/ 73 w 177"/>
                <a:gd name="T9" fmla="*/ 47 h 254"/>
                <a:gd name="T10" fmla="*/ 20 w 177"/>
                <a:gd name="T11" fmla="*/ 67 h 254"/>
                <a:gd name="T12" fmla="*/ 3 w 177"/>
                <a:gd name="T13" fmla="*/ 26 h 254"/>
                <a:gd name="T14" fmla="*/ 84 w 177"/>
                <a:gd name="T15" fmla="*/ 0 h 254"/>
                <a:gd name="T16" fmla="*/ 172 w 177"/>
                <a:gd name="T17" fmla="*/ 78 h 254"/>
                <a:gd name="T18" fmla="*/ 106 w 177"/>
                <a:gd name="T19" fmla="*/ 186 h 254"/>
                <a:gd name="T20" fmla="*/ 83 w 177"/>
                <a:gd name="T21" fmla="*/ 205 h 254"/>
                <a:gd name="T22" fmla="*/ 83 w 177"/>
                <a:gd name="T23" fmla="*/ 206 h 254"/>
                <a:gd name="T24" fmla="*/ 177 w 177"/>
                <a:gd name="T25" fmla="*/ 206 h 254"/>
                <a:gd name="T26" fmla="*/ 177 w 177"/>
                <a:gd name="T27" fmla="*/ 254 h 254"/>
                <a:gd name="T28" fmla="*/ 0 w 177"/>
                <a:gd name="T2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254">
                  <a:moveTo>
                    <a:pt x="0" y="254"/>
                  </a:moveTo>
                  <a:cubicBezTo>
                    <a:pt x="0" y="218"/>
                    <a:pt x="0" y="218"/>
                    <a:pt x="0" y="218"/>
                  </a:cubicBezTo>
                  <a:cubicBezTo>
                    <a:pt x="32" y="190"/>
                    <a:pt x="32" y="190"/>
                    <a:pt x="32" y="190"/>
                  </a:cubicBezTo>
                  <a:cubicBezTo>
                    <a:pt x="87" y="140"/>
                    <a:pt x="113" y="112"/>
                    <a:pt x="114" y="83"/>
                  </a:cubicBezTo>
                  <a:cubicBezTo>
                    <a:pt x="114" y="63"/>
                    <a:pt x="102" y="47"/>
                    <a:pt x="73" y="47"/>
                  </a:cubicBezTo>
                  <a:cubicBezTo>
                    <a:pt x="51" y="47"/>
                    <a:pt x="33" y="58"/>
                    <a:pt x="20" y="67"/>
                  </a:cubicBezTo>
                  <a:cubicBezTo>
                    <a:pt x="3" y="26"/>
                    <a:pt x="3" y="26"/>
                    <a:pt x="3" y="26"/>
                  </a:cubicBezTo>
                  <a:cubicBezTo>
                    <a:pt x="21" y="11"/>
                    <a:pt x="51" y="0"/>
                    <a:pt x="84" y="0"/>
                  </a:cubicBezTo>
                  <a:cubicBezTo>
                    <a:pt x="141" y="0"/>
                    <a:pt x="172" y="33"/>
                    <a:pt x="172" y="78"/>
                  </a:cubicBezTo>
                  <a:cubicBezTo>
                    <a:pt x="172" y="120"/>
                    <a:pt x="142" y="154"/>
                    <a:pt x="106" y="186"/>
                  </a:cubicBezTo>
                  <a:cubicBezTo>
                    <a:pt x="83" y="205"/>
                    <a:pt x="83" y="205"/>
                    <a:pt x="83" y="205"/>
                  </a:cubicBezTo>
                  <a:cubicBezTo>
                    <a:pt x="83" y="206"/>
                    <a:pt x="83" y="206"/>
                    <a:pt x="83" y="206"/>
                  </a:cubicBezTo>
                  <a:cubicBezTo>
                    <a:pt x="177" y="206"/>
                    <a:pt x="177" y="206"/>
                    <a:pt x="177" y="206"/>
                  </a:cubicBezTo>
                  <a:cubicBezTo>
                    <a:pt x="177" y="254"/>
                    <a:pt x="177" y="254"/>
                    <a:pt x="177" y="254"/>
                  </a:cubicBezTo>
                  <a:lnTo>
                    <a:pt x="0" y="2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6959187" y="176495"/>
              <a:ext cx="161925" cy="153988"/>
            </a:xfrm>
            <a:custGeom>
              <a:avLst/>
              <a:gdLst>
                <a:gd name="T0" fmla="*/ 64 w 197"/>
                <a:gd name="T1" fmla="*/ 0 h 188"/>
                <a:gd name="T2" fmla="*/ 89 w 197"/>
                <a:gd name="T3" fmla="*/ 87 h 188"/>
                <a:gd name="T4" fmla="*/ 100 w 197"/>
                <a:gd name="T5" fmla="*/ 133 h 188"/>
                <a:gd name="T6" fmla="*/ 101 w 197"/>
                <a:gd name="T7" fmla="*/ 133 h 188"/>
                <a:gd name="T8" fmla="*/ 111 w 197"/>
                <a:gd name="T9" fmla="*/ 87 h 188"/>
                <a:gd name="T10" fmla="*/ 136 w 197"/>
                <a:gd name="T11" fmla="*/ 0 h 188"/>
                <a:gd name="T12" fmla="*/ 197 w 197"/>
                <a:gd name="T13" fmla="*/ 0 h 188"/>
                <a:gd name="T14" fmla="*/ 127 w 197"/>
                <a:gd name="T15" fmla="*/ 188 h 188"/>
                <a:gd name="T16" fmla="*/ 69 w 197"/>
                <a:gd name="T17" fmla="*/ 188 h 188"/>
                <a:gd name="T18" fmla="*/ 0 w 197"/>
                <a:gd name="T19" fmla="*/ 0 h 188"/>
                <a:gd name="T20" fmla="*/ 64 w 19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188">
                  <a:moveTo>
                    <a:pt x="64" y="0"/>
                  </a:moveTo>
                  <a:cubicBezTo>
                    <a:pt x="89" y="87"/>
                    <a:pt x="89" y="87"/>
                    <a:pt x="89" y="87"/>
                  </a:cubicBezTo>
                  <a:cubicBezTo>
                    <a:pt x="94" y="103"/>
                    <a:pt x="97" y="118"/>
                    <a:pt x="100" y="133"/>
                  </a:cubicBezTo>
                  <a:cubicBezTo>
                    <a:pt x="101" y="133"/>
                    <a:pt x="101" y="133"/>
                    <a:pt x="101" y="133"/>
                  </a:cubicBezTo>
                  <a:cubicBezTo>
                    <a:pt x="104" y="117"/>
                    <a:pt x="107" y="103"/>
                    <a:pt x="111" y="87"/>
                  </a:cubicBezTo>
                  <a:cubicBezTo>
                    <a:pt x="136" y="0"/>
                    <a:pt x="136" y="0"/>
                    <a:pt x="136" y="0"/>
                  </a:cubicBezTo>
                  <a:cubicBezTo>
                    <a:pt x="197" y="0"/>
                    <a:pt x="197" y="0"/>
                    <a:pt x="197" y="0"/>
                  </a:cubicBezTo>
                  <a:cubicBezTo>
                    <a:pt x="127" y="188"/>
                    <a:pt x="127" y="188"/>
                    <a:pt x="127" y="188"/>
                  </a:cubicBezTo>
                  <a:cubicBezTo>
                    <a:pt x="69" y="188"/>
                    <a:pt x="69" y="188"/>
                    <a:pt x="69" y="188"/>
                  </a:cubicBezTo>
                  <a:cubicBezTo>
                    <a:pt x="0" y="0"/>
                    <a:pt x="0" y="0"/>
                    <a:pt x="0" y="0"/>
                  </a:cubicBezTo>
                  <a:lnTo>
                    <a:pt x="6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7149682" y="127280"/>
              <a:ext cx="95250" cy="203199"/>
            </a:xfrm>
            <a:custGeom>
              <a:avLst/>
              <a:gdLst>
                <a:gd name="T0" fmla="*/ 30 w 60"/>
                <a:gd name="T1" fmla="*/ 26 h 128"/>
                <a:gd name="T2" fmla="*/ 30 w 60"/>
                <a:gd name="T3" fmla="*/ 26 h 128"/>
                <a:gd name="T4" fmla="*/ 5 w 60"/>
                <a:gd name="T5" fmla="*/ 38 h 128"/>
                <a:gd name="T6" fmla="*/ 0 w 60"/>
                <a:gd name="T7" fmla="*/ 16 h 128"/>
                <a:gd name="T8" fmla="*/ 35 w 60"/>
                <a:gd name="T9" fmla="*/ 0 h 128"/>
                <a:gd name="T10" fmla="*/ 60 w 60"/>
                <a:gd name="T11" fmla="*/ 0 h 128"/>
                <a:gd name="T12" fmla="*/ 60 w 60"/>
                <a:gd name="T13" fmla="*/ 128 h 128"/>
                <a:gd name="T14" fmla="*/ 30 w 60"/>
                <a:gd name="T15" fmla="*/ 128 h 128"/>
                <a:gd name="T16" fmla="*/ 30 w 60"/>
                <a:gd name="T17" fmla="*/ 2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28">
                  <a:moveTo>
                    <a:pt x="30" y="26"/>
                  </a:moveTo>
                  <a:lnTo>
                    <a:pt x="30" y="26"/>
                  </a:lnTo>
                  <a:lnTo>
                    <a:pt x="5" y="38"/>
                  </a:lnTo>
                  <a:lnTo>
                    <a:pt x="0" y="16"/>
                  </a:lnTo>
                  <a:lnTo>
                    <a:pt x="35" y="0"/>
                  </a:lnTo>
                  <a:lnTo>
                    <a:pt x="60" y="0"/>
                  </a:lnTo>
                  <a:lnTo>
                    <a:pt x="60" y="128"/>
                  </a:lnTo>
                  <a:lnTo>
                    <a:pt x="30" y="128"/>
                  </a:lnTo>
                  <a:lnTo>
                    <a:pt x="30"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0" name="AutoShape 21"/>
          <p:cNvSpPr>
            <a:spLocks noChangeAspect="1" noChangeArrowheads="1" noTextEdit="1"/>
          </p:cNvSpPr>
          <p:nvPr/>
        </p:nvSpPr>
        <p:spPr bwMode="auto">
          <a:xfrm>
            <a:off x="7774493" y="856045"/>
            <a:ext cx="519113"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AutoShape 31"/>
          <p:cNvSpPr>
            <a:spLocks noChangeAspect="1" noChangeArrowheads="1" noTextEdit="1"/>
          </p:cNvSpPr>
          <p:nvPr/>
        </p:nvSpPr>
        <p:spPr bwMode="auto">
          <a:xfrm>
            <a:off x="3674103" y="2639128"/>
            <a:ext cx="45340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AutoShape 40"/>
          <p:cNvSpPr>
            <a:spLocks noChangeAspect="1" noChangeArrowheads="1" noTextEdit="1"/>
          </p:cNvSpPr>
          <p:nvPr/>
        </p:nvSpPr>
        <p:spPr bwMode="auto">
          <a:xfrm>
            <a:off x="3675313" y="3511943"/>
            <a:ext cx="478830" cy="41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AutoShape 49"/>
          <p:cNvSpPr>
            <a:spLocks noChangeAspect="1" noChangeArrowheads="1" noTextEdit="1"/>
          </p:cNvSpPr>
          <p:nvPr/>
        </p:nvSpPr>
        <p:spPr bwMode="auto">
          <a:xfrm>
            <a:off x="3746593" y="4388232"/>
            <a:ext cx="318796" cy="390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33" name="Picture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9578" y="849801"/>
            <a:ext cx="729129" cy="729129"/>
          </a:xfrm>
          <a:prstGeom prst="rect">
            <a:avLst/>
          </a:prstGeom>
        </p:spPr>
      </p:pic>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6544" y="1644433"/>
            <a:ext cx="693961" cy="693961"/>
          </a:xfrm>
          <a:prstGeom prst="rect">
            <a:avLst/>
          </a:prstGeom>
        </p:spPr>
      </p:pic>
      <p:pic>
        <p:nvPicPr>
          <p:cNvPr id="35" name="Picture 3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1120" y="2435385"/>
            <a:ext cx="692771" cy="692771"/>
          </a:xfrm>
          <a:prstGeom prst="rect">
            <a:avLst/>
          </a:prstGeom>
        </p:spPr>
      </p:pic>
      <p:pic>
        <p:nvPicPr>
          <p:cNvPr id="36" name="Picture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99680" y="3234208"/>
            <a:ext cx="695635" cy="695635"/>
          </a:xfrm>
          <a:prstGeom prst="rect">
            <a:avLst/>
          </a:prstGeom>
        </p:spPr>
      </p:pic>
      <p:pic>
        <p:nvPicPr>
          <p:cNvPr id="37" name="Picture 3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47554" y="4004434"/>
            <a:ext cx="669699" cy="669699"/>
          </a:xfrm>
          <a:prstGeom prst="rect">
            <a:avLst/>
          </a:prstGeom>
        </p:spPr>
      </p:pic>
      <p:pic>
        <p:nvPicPr>
          <p:cNvPr id="38" name="Picture 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98999" y="826729"/>
            <a:ext cx="660357" cy="660357"/>
          </a:xfrm>
          <a:prstGeom prst="rect">
            <a:avLst/>
          </a:prstGeom>
        </p:spPr>
      </p:pic>
      <p:pic>
        <p:nvPicPr>
          <p:cNvPr id="40" name="Picture 3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39139" y="3224856"/>
            <a:ext cx="655127" cy="655127"/>
          </a:xfrm>
          <a:prstGeom prst="rect">
            <a:avLst/>
          </a:prstGeom>
        </p:spPr>
      </p:pic>
      <p:pic>
        <p:nvPicPr>
          <p:cNvPr id="42" name="Picture 4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79923" y="1633815"/>
            <a:ext cx="649093" cy="649093"/>
          </a:xfrm>
          <a:prstGeom prst="rect">
            <a:avLst/>
          </a:prstGeom>
        </p:spPr>
      </p:pic>
      <p:pic>
        <p:nvPicPr>
          <p:cNvPr id="43" name="Picture 4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14788" y="4013725"/>
            <a:ext cx="689708" cy="689708"/>
          </a:xfrm>
          <a:prstGeom prst="rect">
            <a:avLst/>
          </a:prstGeom>
        </p:spPr>
      </p:pic>
      <p:pic>
        <p:nvPicPr>
          <p:cNvPr id="44" name="Picture 4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979923" y="2409643"/>
            <a:ext cx="668484" cy="668484"/>
          </a:xfrm>
          <a:prstGeom prst="rect">
            <a:avLst/>
          </a:prstGeom>
        </p:spPr>
      </p:pic>
    </p:spTree>
    <p:extLst>
      <p:ext uri="{BB962C8B-B14F-4D97-AF65-F5344CB8AC3E}">
        <p14:creationId xmlns:p14="http://schemas.microsoft.com/office/powerpoint/2010/main" val="2660333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Security c</a:t>
            </a:r>
            <a:r>
              <a:rPr lang="en-US" dirty="0" smtClean="0"/>
              <a:t>-level </a:t>
            </a:r>
            <a:r>
              <a:rPr lang="en-US" dirty="0"/>
              <a:t>a</a:t>
            </a:r>
            <a:r>
              <a:rPr lang="en-US" dirty="0" smtClean="0"/>
              <a:t>ttention</a:t>
            </a:r>
            <a:endParaRPr lang="en-US" dirty="0"/>
          </a:p>
        </p:txBody>
      </p:sp>
      <p:sp>
        <p:nvSpPr>
          <p:cNvPr id="4" name="Slide Number Placeholder 3"/>
          <p:cNvSpPr>
            <a:spLocks noGrp="1"/>
          </p:cNvSpPr>
          <p:nvPr>
            <p:ph type="sldNum" sz="quarter" idx="4"/>
          </p:nvPr>
        </p:nvSpPr>
        <p:spPr/>
        <p:txBody>
          <a:bodyPr/>
          <a:lstStyle/>
          <a:p>
            <a:fld id="{0E0C512C-2A69-4D15-9349-877CDA6B8ABD}" type="slidenum">
              <a:rPr lang="en-GB" smtClean="0"/>
              <a:pPr/>
              <a:t>11</a:t>
            </a:fld>
            <a:endParaRPr lang="en-GB" dirty="0"/>
          </a:p>
        </p:txBody>
      </p:sp>
      <p:sp>
        <p:nvSpPr>
          <p:cNvPr id="6" name="TextBox 5"/>
          <p:cNvSpPr txBox="1"/>
          <p:nvPr/>
        </p:nvSpPr>
        <p:spPr>
          <a:xfrm>
            <a:off x="390305" y="1297746"/>
            <a:ext cx="7929676" cy="3046988"/>
          </a:xfrm>
          <a:prstGeom prst="rect">
            <a:avLst/>
          </a:prstGeom>
          <a:noFill/>
        </p:spPr>
        <p:txBody>
          <a:bodyPr wrap="square" rtlCol="0" anchor="t">
            <a:spAutoFit/>
          </a:bodyPr>
          <a:lstStyle/>
          <a:p>
            <a:pPr marL="342900" indent="-457200" fontAlgn="ctr">
              <a:spcBef>
                <a:spcPts val="0"/>
              </a:spcBef>
              <a:spcAft>
                <a:spcPts val="0"/>
              </a:spcAft>
              <a:buFont typeface="Arial" panose="020B0604020202020204" pitchFamily="34" charset="0"/>
              <a:buChar char="•"/>
              <a:defRPr/>
            </a:pPr>
            <a:r>
              <a:rPr kumimoji="0" lang="en-US" sz="2400" b="0" i="0" u="none" strike="noStrike" kern="0" cap="none" spc="0" normalizeH="0" baseline="0" noProof="0" dirty="0">
                <a:ln>
                  <a:noFill/>
                </a:ln>
                <a:solidFill>
                  <a:srgbClr val="000000"/>
                </a:solidFill>
                <a:effectLst/>
                <a:uLnTx/>
                <a:uFillTx/>
              </a:rPr>
              <a:t>How information security has come to have </a:t>
            </a:r>
            <a:r>
              <a:rPr lang="en-US" sz="2400" kern="0" dirty="0">
                <a:solidFill>
                  <a:srgbClr val="000000"/>
                </a:solidFill>
              </a:rPr>
              <a:t>c-level </a:t>
            </a:r>
            <a:r>
              <a:rPr kumimoji="0" lang="en-US" sz="2400" b="0" i="0" u="none" strike="noStrike" kern="0" cap="none" spc="0" normalizeH="0" baseline="0" noProof="0" dirty="0">
                <a:ln>
                  <a:noFill/>
                </a:ln>
                <a:solidFill>
                  <a:srgbClr val="000000"/>
                </a:solidFill>
                <a:effectLst/>
                <a:uLnTx/>
                <a:uFillTx/>
              </a:rPr>
              <a:t>attention</a:t>
            </a:r>
            <a:r>
              <a:rPr lang="en-US" sz="2400" kern="0" dirty="0">
                <a:solidFill>
                  <a:srgbClr val="000000"/>
                </a:solidFill>
              </a:rPr>
              <a:t> </a:t>
            </a:r>
            <a:endParaRPr kumimoji="0" lang="en-US" sz="2400" b="0" i="0" u="none" strike="noStrike" kern="0" cap="none" spc="0" normalizeH="0" baseline="0" noProof="0" dirty="0">
              <a:ln>
                <a:noFill/>
              </a:ln>
              <a:solidFill>
                <a:srgbClr val="000000"/>
              </a:solidFill>
              <a:effectLst/>
              <a:uLnTx/>
              <a:uFillTx/>
            </a:endParaRPr>
          </a:p>
          <a:p>
            <a:pPr marL="800100" marR="0" lvl="1" indent="-457200" defTabSz="914400" eaLnBrk="1" fontAlgn="ctr" latinLnBrk="0" hangingPunct="1">
              <a:lnSpc>
                <a:spcPct val="100000"/>
              </a:lnSpc>
              <a:spcBef>
                <a:spcPts val="0"/>
              </a:spcBef>
              <a:spcAft>
                <a:spcPts val="0"/>
              </a:spcAft>
              <a:buClrTx/>
              <a:buSzTx/>
              <a:buFont typeface="Courier New" panose="02070309020205020404" pitchFamily="49" charset="0"/>
              <a:buChar char="o"/>
              <a:tabLst/>
              <a:defRPr/>
            </a:pPr>
            <a:r>
              <a:rPr kumimoji="0" lang="en-US" sz="2400" b="0" i="0" u="none" strike="noStrike" kern="0" cap="none" spc="0" normalizeH="0" baseline="0" noProof="0" dirty="0">
                <a:ln>
                  <a:noFill/>
                </a:ln>
                <a:solidFill>
                  <a:srgbClr val="000000"/>
                </a:solidFill>
                <a:effectLst/>
                <a:uLnTx/>
                <a:uFillTx/>
              </a:rPr>
              <a:t>Security breach headlines</a:t>
            </a:r>
            <a:endParaRPr kumimoji="0" lang="en-US" sz="2400" b="0" i="0" u="none" strike="noStrike" kern="0" cap="none" spc="0" normalizeH="0" baseline="0" noProof="0" dirty="0">
              <a:ln>
                <a:noFill/>
              </a:ln>
              <a:solidFill>
                <a:srgbClr val="000000"/>
              </a:solidFill>
              <a:effectLst/>
              <a:uLnTx/>
              <a:uFillTx/>
              <a:cs typeface="Arial"/>
            </a:endParaRPr>
          </a:p>
          <a:p>
            <a:pPr marL="742950" marR="0" lvl="1" indent="-457200" defTabSz="914400" eaLnBrk="1" fontAlgn="ctr" latinLnBrk="0" hangingPunct="1">
              <a:lnSpc>
                <a:spcPct val="100000"/>
              </a:lnSpc>
              <a:spcBef>
                <a:spcPts val="0"/>
              </a:spcBef>
              <a:spcAft>
                <a:spcPts val="0"/>
              </a:spcAft>
              <a:buClrTx/>
              <a:buSzTx/>
              <a:buFont typeface="Courier New" panose="02070309020205020404" pitchFamily="49" charset="0"/>
              <a:buChar char="o"/>
              <a:tabLst/>
              <a:defRPr/>
            </a:pPr>
            <a:r>
              <a:rPr kumimoji="0" lang="en-US" sz="2400" b="0" i="0" u="none" strike="noStrike" kern="0" cap="none" spc="0" normalizeH="0" baseline="0" noProof="0" dirty="0">
                <a:ln>
                  <a:noFill/>
                </a:ln>
                <a:solidFill>
                  <a:srgbClr val="000000"/>
                </a:solidFill>
                <a:effectLst/>
                <a:uLnTx/>
                <a:uFillTx/>
                <a:cs typeface="Arial"/>
              </a:rPr>
              <a:t>Type of business we are</a:t>
            </a:r>
            <a:endParaRPr kumimoji="0" lang="en-US" sz="2400" b="0" i="0" u="none" strike="noStrike" kern="0" cap="none" spc="0" normalizeH="0" baseline="0" noProof="0" dirty="0">
              <a:ln>
                <a:noFill/>
              </a:ln>
              <a:solidFill>
                <a:srgbClr val="000000"/>
              </a:solidFill>
              <a:effectLst/>
              <a:uLnTx/>
              <a:uFillTx/>
            </a:endParaRPr>
          </a:p>
          <a:p>
            <a:pPr marL="742950" marR="0" lvl="1" indent="-457200" defTabSz="914400" eaLnBrk="1" fontAlgn="ctr" latinLnBrk="0" hangingPunct="1">
              <a:lnSpc>
                <a:spcPct val="100000"/>
              </a:lnSpc>
              <a:spcBef>
                <a:spcPts val="0"/>
              </a:spcBef>
              <a:spcAft>
                <a:spcPts val="0"/>
              </a:spcAft>
              <a:buClrTx/>
              <a:buSzTx/>
              <a:buFont typeface="Courier New" panose="02070309020205020404" pitchFamily="49" charset="0"/>
              <a:buChar char="o"/>
              <a:tabLst/>
              <a:defRPr/>
            </a:pPr>
            <a:r>
              <a:rPr kumimoji="0" lang="en-US" sz="2400" b="0" i="0" u="none" strike="noStrike" kern="0" cap="none" spc="0" normalizeH="0" baseline="0" noProof="0" dirty="0">
                <a:ln>
                  <a:noFill/>
                </a:ln>
                <a:solidFill>
                  <a:srgbClr val="000000"/>
                </a:solidFill>
                <a:effectLst/>
                <a:uLnTx/>
                <a:uFillTx/>
                <a:cs typeface="Arial"/>
              </a:rPr>
              <a:t>Competitors</a:t>
            </a:r>
            <a:endParaRPr kumimoji="0" lang="en-US" sz="2400" b="0" i="0" u="none" strike="noStrike" kern="0" cap="none" spc="0" normalizeH="0" baseline="0" noProof="0" dirty="0">
              <a:ln>
                <a:noFill/>
              </a:ln>
              <a:solidFill>
                <a:srgbClr val="000000"/>
              </a:solidFill>
              <a:effectLst/>
              <a:uLnTx/>
              <a:uFillTx/>
            </a:endParaRPr>
          </a:p>
          <a:p>
            <a:pPr marL="742950" marR="0" lvl="1" indent="-457200" defTabSz="914400" eaLnBrk="1" fontAlgn="ctr" latinLnBrk="0" hangingPunct="1">
              <a:lnSpc>
                <a:spcPct val="100000"/>
              </a:lnSpc>
              <a:spcBef>
                <a:spcPts val="0"/>
              </a:spcBef>
              <a:spcAft>
                <a:spcPts val="0"/>
              </a:spcAft>
              <a:buClrTx/>
              <a:buSzTx/>
              <a:buFont typeface="Courier New" panose="02070309020205020404" pitchFamily="49" charset="0"/>
              <a:buChar char="o"/>
              <a:tabLst/>
              <a:defRPr/>
            </a:pPr>
            <a:r>
              <a:rPr kumimoji="0" lang="en-US" sz="2400" b="0" i="0" u="none" strike="noStrike" kern="0" cap="none" spc="0" normalizeH="0" baseline="0" noProof="0" dirty="0">
                <a:ln>
                  <a:noFill/>
                </a:ln>
                <a:solidFill>
                  <a:srgbClr val="000000"/>
                </a:solidFill>
                <a:effectLst/>
                <a:uLnTx/>
                <a:uFillTx/>
              </a:rPr>
              <a:t>ISO 27001, NIST 800-171 – required and also help us market services to our clients</a:t>
            </a:r>
          </a:p>
          <a:p>
            <a:pPr marL="742950" marR="0" lvl="1" indent="-457200" defTabSz="914400" eaLnBrk="1" fontAlgn="ctr" latinLnBrk="0" hangingPunct="1">
              <a:lnSpc>
                <a:spcPct val="100000"/>
              </a:lnSpc>
              <a:spcBef>
                <a:spcPts val="0"/>
              </a:spcBef>
              <a:spcAft>
                <a:spcPts val="0"/>
              </a:spcAft>
              <a:buClrTx/>
              <a:buSzTx/>
              <a:buFont typeface="Courier New" panose="02070309020205020404" pitchFamily="49" charset="0"/>
              <a:buChar char="o"/>
              <a:tabLst/>
              <a:defRPr/>
            </a:pPr>
            <a:r>
              <a:rPr kumimoji="0" lang="en-US" sz="2400" b="0" i="0" u="none" strike="noStrike" kern="0" cap="none" spc="0" normalizeH="0" baseline="0" noProof="0" dirty="0">
                <a:ln>
                  <a:noFill/>
                </a:ln>
                <a:solidFill>
                  <a:srgbClr val="000000"/>
                </a:solidFill>
                <a:effectLst/>
                <a:uLnTx/>
                <a:uFillTx/>
              </a:rPr>
              <a:t>Business Risk Committee</a:t>
            </a:r>
            <a:endParaRPr kumimoji="0" lang="en-US" sz="2400" b="0" i="0" u="none" strike="noStrike" kern="0" cap="none" spc="0" normalizeH="0" baseline="0" noProof="0" dirty="0">
              <a:ln>
                <a:noFill/>
              </a:ln>
              <a:solidFill>
                <a:srgbClr val="000000"/>
              </a:solidFill>
              <a:effectLst/>
              <a:uLnTx/>
              <a:uFillTx/>
              <a:cs typeface="Arial"/>
            </a:endParaRPr>
          </a:p>
        </p:txBody>
      </p:sp>
    </p:spTree>
    <p:extLst>
      <p:ext uri="{BB962C8B-B14F-4D97-AF65-F5344CB8AC3E}">
        <p14:creationId xmlns:p14="http://schemas.microsoft.com/office/powerpoint/2010/main" val="807615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laboration</a:t>
            </a:r>
          </a:p>
        </p:txBody>
      </p:sp>
      <p:sp>
        <p:nvSpPr>
          <p:cNvPr id="3" name="Slide Number Placeholder 2"/>
          <p:cNvSpPr>
            <a:spLocks noGrp="1"/>
          </p:cNvSpPr>
          <p:nvPr>
            <p:ph type="sldNum" sz="quarter" idx="4"/>
          </p:nvPr>
        </p:nvSpPr>
        <p:spPr/>
        <p:txBody>
          <a:bodyPr/>
          <a:lstStyle/>
          <a:p>
            <a:fld id="{0E0C512C-2A69-4D15-9349-877CDA6B8ABD}" type="slidenum">
              <a:rPr lang="en-GB" smtClean="0"/>
              <a:pPr/>
              <a:t>12</a:t>
            </a:fld>
            <a:endParaRPr lang="en-GB" dirty="0"/>
          </a:p>
        </p:txBody>
      </p:sp>
      <p:sp>
        <p:nvSpPr>
          <p:cNvPr id="4" name="TextBox 3"/>
          <p:cNvSpPr txBox="1"/>
          <p:nvPr/>
        </p:nvSpPr>
        <p:spPr>
          <a:xfrm>
            <a:off x="497434" y="1068019"/>
            <a:ext cx="7929676" cy="3416320"/>
          </a:xfrm>
          <a:prstGeom prst="rect">
            <a:avLst/>
          </a:prstGeom>
          <a:noFill/>
        </p:spPr>
        <p:txBody>
          <a:bodyPr wrap="square" rtlCol="0">
            <a:spAutoFit/>
          </a:bodyPr>
          <a:lstStyle/>
          <a:p>
            <a:pPr marL="457200" indent="-457200" fontAlgn="ctr">
              <a:buFont typeface="Arial" panose="020B0604020202020204" pitchFamily="34" charset="0"/>
              <a:buChar char="•"/>
            </a:pPr>
            <a:r>
              <a:rPr lang="en-US" sz="2400" dirty="0"/>
              <a:t>Collaboration - with one another, with the business, with Legal &amp; IT</a:t>
            </a:r>
          </a:p>
          <a:p>
            <a:pPr marL="914400" lvl="1" indent="-457200" fontAlgn="ctr">
              <a:buFont typeface="Courier New" panose="02070309020205020404" pitchFamily="49" charset="0"/>
              <a:buChar char="o"/>
            </a:pPr>
            <a:r>
              <a:rPr lang="en-US" sz="2400" dirty="0" smtClean="0"/>
              <a:t>Regular </a:t>
            </a:r>
            <a:r>
              <a:rPr lang="en-US" sz="2400" dirty="0"/>
              <a:t>IG/IS meetings </a:t>
            </a:r>
          </a:p>
          <a:p>
            <a:pPr marL="914400" lvl="1" indent="-457200" fontAlgn="ctr">
              <a:buFont typeface="Courier New" panose="02070309020205020404" pitchFamily="49" charset="0"/>
              <a:buChar char="o"/>
            </a:pPr>
            <a:r>
              <a:rPr lang="en-US" sz="2400" dirty="0"/>
              <a:t>Working together on operational requirements</a:t>
            </a:r>
          </a:p>
          <a:p>
            <a:pPr marL="1371600" lvl="2" indent="-457200" fontAlgn="ctr">
              <a:buFont typeface="Arial" panose="020B0604020202020204" pitchFamily="34" charset="0"/>
              <a:buChar char="‒"/>
            </a:pPr>
            <a:r>
              <a:rPr lang="en-US" sz="2400" dirty="0"/>
              <a:t>Architecture Review Board </a:t>
            </a:r>
            <a:r>
              <a:rPr lang="en-US" sz="2400" dirty="0" smtClean="0"/>
              <a:t>(cross-functional </a:t>
            </a:r>
            <a:r>
              <a:rPr lang="en-US" sz="2400" dirty="0"/>
              <a:t>project reviews up </a:t>
            </a:r>
            <a:r>
              <a:rPr lang="en-US" sz="2400" dirty="0" smtClean="0"/>
              <a:t>front)</a:t>
            </a:r>
            <a:endParaRPr lang="en-US" sz="2400" dirty="0"/>
          </a:p>
          <a:p>
            <a:pPr marL="1371600" lvl="2" indent="-457200" fontAlgn="ctr">
              <a:buFont typeface="Arial" panose="020B0604020202020204" pitchFamily="34" charset="0"/>
              <a:buChar char="‒"/>
            </a:pPr>
            <a:r>
              <a:rPr lang="en-US" sz="2400" dirty="0"/>
              <a:t>Vendor assessments</a:t>
            </a:r>
          </a:p>
          <a:p>
            <a:pPr marL="1371600" lvl="2" indent="-457200" fontAlgn="ctr">
              <a:buFont typeface="Arial" panose="020B0604020202020204" pitchFamily="34" charset="0"/>
              <a:buChar char="‒"/>
            </a:pPr>
            <a:r>
              <a:rPr lang="en-US" sz="2400" dirty="0"/>
              <a:t>Client questionnaires </a:t>
            </a:r>
          </a:p>
          <a:p>
            <a:endParaRPr lang="en-US" sz="2400" dirty="0"/>
          </a:p>
        </p:txBody>
      </p:sp>
    </p:spTree>
    <p:extLst>
      <p:ext uri="{BB962C8B-B14F-4D97-AF65-F5344CB8AC3E}">
        <p14:creationId xmlns:p14="http://schemas.microsoft.com/office/powerpoint/2010/main" val="22136250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laboration and the firm’s values</a:t>
            </a:r>
          </a:p>
        </p:txBody>
      </p:sp>
      <p:sp>
        <p:nvSpPr>
          <p:cNvPr id="3" name="Slide Number Placeholder 2"/>
          <p:cNvSpPr>
            <a:spLocks noGrp="1"/>
          </p:cNvSpPr>
          <p:nvPr>
            <p:ph type="sldNum" sz="quarter" idx="4"/>
          </p:nvPr>
        </p:nvSpPr>
        <p:spPr/>
        <p:txBody>
          <a:bodyPr/>
          <a:lstStyle/>
          <a:p>
            <a:fld id="{0E0C512C-2A69-4D15-9349-877CDA6B8ABD}" type="slidenum">
              <a:rPr lang="en-GB" smtClean="0"/>
              <a:pPr/>
              <a:t>13</a:t>
            </a:fld>
            <a:endParaRPr lang="en-GB" dirty="0"/>
          </a:p>
        </p:txBody>
      </p:sp>
      <p:graphicFrame>
        <p:nvGraphicFramePr>
          <p:cNvPr id="4" name="Diagram 3"/>
          <p:cNvGraphicFramePr/>
          <p:nvPr>
            <p:extLst>
              <p:ext uri="{D42A27DB-BD31-4B8C-83A1-F6EECF244321}">
                <p14:modId xmlns:p14="http://schemas.microsoft.com/office/powerpoint/2010/main" val="1925524108"/>
              </p:ext>
            </p:extLst>
          </p:nvPr>
        </p:nvGraphicFramePr>
        <p:xfrm>
          <a:off x="1524000" y="77317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04881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 of Information Governance at Grant Thornton</a:t>
            </a:r>
          </a:p>
        </p:txBody>
      </p:sp>
      <p:sp>
        <p:nvSpPr>
          <p:cNvPr id="3" name="Slide Number Placeholder 2"/>
          <p:cNvSpPr>
            <a:spLocks noGrp="1"/>
          </p:cNvSpPr>
          <p:nvPr>
            <p:ph type="sldNum" sz="quarter" idx="4"/>
          </p:nvPr>
        </p:nvSpPr>
        <p:spPr/>
        <p:txBody>
          <a:bodyPr/>
          <a:lstStyle/>
          <a:p>
            <a:fld id="{0E0C512C-2A69-4D15-9349-877CDA6B8ABD}" type="slidenum">
              <a:rPr lang="en-GB" smtClean="0"/>
              <a:pPr/>
              <a:t>14</a:t>
            </a:fld>
            <a:endParaRPr lang="en-GB" dirty="0"/>
          </a:p>
        </p:txBody>
      </p:sp>
      <p:graphicFrame>
        <p:nvGraphicFramePr>
          <p:cNvPr id="5" name="Diagram 4"/>
          <p:cNvGraphicFramePr/>
          <p:nvPr>
            <p:extLst>
              <p:ext uri="{D42A27DB-BD31-4B8C-83A1-F6EECF244321}">
                <p14:modId xmlns:p14="http://schemas.microsoft.com/office/powerpoint/2010/main" val="754442090"/>
              </p:ext>
            </p:extLst>
          </p:nvPr>
        </p:nvGraphicFramePr>
        <p:xfrm>
          <a:off x="1516685" y="1205434"/>
          <a:ext cx="5498592" cy="36317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324378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230" y="452214"/>
            <a:ext cx="8229601" cy="701278"/>
          </a:xfrm>
        </p:spPr>
        <p:txBody>
          <a:bodyPr/>
          <a:lstStyle/>
          <a:p>
            <a:r>
              <a:rPr lang="en-US" dirty="0"/>
              <a:t>Information Governance – coalition of ownership</a:t>
            </a:r>
          </a:p>
        </p:txBody>
      </p:sp>
      <p:sp>
        <p:nvSpPr>
          <p:cNvPr id="3" name="Slide Number Placeholder 2"/>
          <p:cNvSpPr>
            <a:spLocks noGrp="1"/>
          </p:cNvSpPr>
          <p:nvPr>
            <p:ph type="sldNum" sz="quarter" idx="4"/>
          </p:nvPr>
        </p:nvSpPr>
        <p:spPr>
          <a:xfrm>
            <a:off x="8331071" y="5143734"/>
            <a:ext cx="365760" cy="201168"/>
          </a:xfrm>
        </p:spPr>
        <p:txBody>
          <a:bodyPr/>
          <a:lstStyle/>
          <a:p>
            <a:fld id="{0E0C512C-2A69-4D15-9349-877CDA6B8ABD}" type="slidenum">
              <a:rPr lang="en-GB" smtClean="0"/>
              <a:pPr/>
              <a:t>15</a:t>
            </a:fld>
            <a:endParaRPr lang="en-GB" dirty="0"/>
          </a:p>
        </p:txBody>
      </p:sp>
      <p:sp>
        <p:nvSpPr>
          <p:cNvPr id="4" name="Rectangle 3"/>
          <p:cNvSpPr/>
          <p:nvPr/>
        </p:nvSpPr>
        <p:spPr>
          <a:xfrm>
            <a:off x="1780490" y="3424057"/>
            <a:ext cx="1411345" cy="1015663"/>
          </a:xfrm>
          <a:prstGeom prst="rect">
            <a:avLst/>
          </a:prstGeom>
        </p:spPr>
        <p:txBody>
          <a:bodyPr wrap="square">
            <a:spAutoFit/>
          </a:bodyPr>
          <a:lstStyle/>
          <a:p>
            <a:pPr lvl="0" algn="ctr"/>
            <a:r>
              <a:rPr lang="en-US" sz="1200" dirty="0">
                <a:solidFill>
                  <a:srgbClr val="552684"/>
                </a:solidFill>
                <a:latin typeface="GT Walsheim Medium" panose="02000603040000020003" pitchFamily="50" charset="0"/>
              </a:rPr>
              <a:t>Business Technology (including Information Security)</a:t>
            </a:r>
          </a:p>
        </p:txBody>
      </p:sp>
      <p:grpSp>
        <p:nvGrpSpPr>
          <p:cNvPr id="5" name="Group 4"/>
          <p:cNvGrpSpPr/>
          <p:nvPr/>
        </p:nvGrpSpPr>
        <p:grpSpPr>
          <a:xfrm>
            <a:off x="3449095" y="1153492"/>
            <a:ext cx="2247670" cy="910147"/>
            <a:chOff x="3362884" y="2553452"/>
            <a:chExt cx="2247670" cy="910147"/>
          </a:xfrm>
        </p:grpSpPr>
        <p:grpSp>
          <p:nvGrpSpPr>
            <p:cNvPr id="6" name="Group 933">
              <a:extLst>
                <a:ext uri="{FF2B5EF4-FFF2-40B4-BE49-F238E27FC236}">
                  <a16:creationId xmlns:a16="http://schemas.microsoft.com/office/drawing/2014/main" id="{A57B6B52-941B-4F22-A7BA-8642C18D17F5}"/>
                </a:ext>
              </a:extLst>
            </p:cNvPr>
            <p:cNvGrpSpPr>
              <a:grpSpLocks/>
            </p:cNvGrpSpPr>
            <p:nvPr/>
          </p:nvGrpSpPr>
          <p:grpSpPr bwMode="auto">
            <a:xfrm>
              <a:off x="4018667" y="2553452"/>
              <a:ext cx="680167" cy="577034"/>
              <a:chOff x="242" y="2308"/>
              <a:chExt cx="364" cy="305"/>
            </a:xfrm>
            <a:solidFill>
              <a:srgbClr val="C8BEAC"/>
            </a:solidFill>
          </p:grpSpPr>
          <p:sp>
            <p:nvSpPr>
              <p:cNvPr id="8" name="Freeform 243" descr="© INSCALE GmbH, 21.06.2010">
                <a:extLst>
                  <a:ext uri="{FF2B5EF4-FFF2-40B4-BE49-F238E27FC236}">
                    <a16:creationId xmlns:a16="http://schemas.microsoft.com/office/drawing/2014/main" id="{F60741F9-AD4A-4DDF-BE30-302135EC0D5A}"/>
                  </a:ext>
                </a:extLst>
              </p:cNvPr>
              <p:cNvSpPr>
                <a:spLocks/>
              </p:cNvSpPr>
              <p:nvPr/>
            </p:nvSpPr>
            <p:spPr bwMode="gray">
              <a:xfrm>
                <a:off x="490" y="2391"/>
                <a:ext cx="45" cy="155"/>
              </a:xfrm>
              <a:custGeom>
                <a:avLst/>
                <a:gdLst>
                  <a:gd name="T0" fmla="*/ 238 w 395"/>
                  <a:gd name="T1" fmla="*/ 0 h 1369"/>
                  <a:gd name="T2" fmla="*/ 157 w 395"/>
                  <a:gd name="T3" fmla="*/ 0 h 1369"/>
                  <a:gd name="T4" fmla="*/ 0 w 395"/>
                  <a:gd name="T5" fmla="*/ 118 h 1369"/>
                  <a:gd name="T6" fmla="*/ 0 w 395"/>
                  <a:gd name="T7" fmla="*/ 1251 h 1369"/>
                  <a:gd name="T8" fmla="*/ 157 w 395"/>
                  <a:gd name="T9" fmla="*/ 1369 h 1369"/>
                  <a:gd name="T10" fmla="*/ 238 w 395"/>
                  <a:gd name="T11" fmla="*/ 1369 h 1369"/>
                  <a:gd name="T12" fmla="*/ 395 w 395"/>
                  <a:gd name="T13" fmla="*/ 1251 h 1369"/>
                  <a:gd name="T14" fmla="*/ 395 w 395"/>
                  <a:gd name="T15" fmla="*/ 118 h 1369"/>
                  <a:gd name="T16" fmla="*/ 238 w 395"/>
                  <a:gd name="T1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5" h="1369">
                    <a:moveTo>
                      <a:pt x="238" y="0"/>
                    </a:moveTo>
                    <a:cubicBezTo>
                      <a:pt x="157" y="0"/>
                      <a:pt x="157" y="0"/>
                      <a:pt x="157" y="0"/>
                    </a:cubicBezTo>
                    <a:cubicBezTo>
                      <a:pt x="70" y="0"/>
                      <a:pt x="0" y="52"/>
                      <a:pt x="0" y="118"/>
                    </a:cubicBezTo>
                    <a:cubicBezTo>
                      <a:pt x="0" y="1251"/>
                      <a:pt x="0" y="1251"/>
                      <a:pt x="0" y="1251"/>
                    </a:cubicBezTo>
                    <a:cubicBezTo>
                      <a:pt x="0" y="1317"/>
                      <a:pt x="70" y="1369"/>
                      <a:pt x="157" y="1369"/>
                    </a:cubicBezTo>
                    <a:cubicBezTo>
                      <a:pt x="238" y="1369"/>
                      <a:pt x="238" y="1369"/>
                      <a:pt x="238" y="1369"/>
                    </a:cubicBezTo>
                    <a:cubicBezTo>
                      <a:pt x="325" y="1369"/>
                      <a:pt x="395" y="1317"/>
                      <a:pt x="395" y="1251"/>
                    </a:cubicBezTo>
                    <a:cubicBezTo>
                      <a:pt x="395" y="118"/>
                      <a:pt x="395" y="118"/>
                      <a:pt x="395" y="118"/>
                    </a:cubicBezTo>
                    <a:cubicBezTo>
                      <a:pt x="395" y="52"/>
                      <a:pt x="325" y="0"/>
                      <a:pt x="2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9" name="Freeform 244" descr="© INSCALE GmbH, 21.06.2010">
                <a:extLst>
                  <a:ext uri="{FF2B5EF4-FFF2-40B4-BE49-F238E27FC236}">
                    <a16:creationId xmlns:a16="http://schemas.microsoft.com/office/drawing/2014/main" id="{3F26E07D-28EE-4489-A3F7-FAD324A92A7F}"/>
                  </a:ext>
                </a:extLst>
              </p:cNvPr>
              <p:cNvSpPr>
                <a:spLocks/>
              </p:cNvSpPr>
              <p:nvPr/>
            </p:nvSpPr>
            <p:spPr bwMode="gray">
              <a:xfrm>
                <a:off x="399" y="2391"/>
                <a:ext cx="45" cy="155"/>
              </a:xfrm>
              <a:custGeom>
                <a:avLst/>
                <a:gdLst>
                  <a:gd name="T0" fmla="*/ 238 w 395"/>
                  <a:gd name="T1" fmla="*/ 0 h 1369"/>
                  <a:gd name="T2" fmla="*/ 157 w 395"/>
                  <a:gd name="T3" fmla="*/ 0 h 1369"/>
                  <a:gd name="T4" fmla="*/ 0 w 395"/>
                  <a:gd name="T5" fmla="*/ 118 h 1369"/>
                  <a:gd name="T6" fmla="*/ 0 w 395"/>
                  <a:gd name="T7" fmla="*/ 1251 h 1369"/>
                  <a:gd name="T8" fmla="*/ 157 w 395"/>
                  <a:gd name="T9" fmla="*/ 1369 h 1369"/>
                  <a:gd name="T10" fmla="*/ 238 w 395"/>
                  <a:gd name="T11" fmla="*/ 1369 h 1369"/>
                  <a:gd name="T12" fmla="*/ 395 w 395"/>
                  <a:gd name="T13" fmla="*/ 1251 h 1369"/>
                  <a:gd name="T14" fmla="*/ 395 w 395"/>
                  <a:gd name="T15" fmla="*/ 118 h 1369"/>
                  <a:gd name="T16" fmla="*/ 238 w 395"/>
                  <a:gd name="T1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5" h="1369">
                    <a:moveTo>
                      <a:pt x="238" y="0"/>
                    </a:moveTo>
                    <a:cubicBezTo>
                      <a:pt x="157" y="0"/>
                      <a:pt x="157" y="0"/>
                      <a:pt x="157" y="0"/>
                    </a:cubicBezTo>
                    <a:cubicBezTo>
                      <a:pt x="70" y="0"/>
                      <a:pt x="0" y="52"/>
                      <a:pt x="0" y="118"/>
                    </a:cubicBezTo>
                    <a:cubicBezTo>
                      <a:pt x="0" y="1251"/>
                      <a:pt x="0" y="1251"/>
                      <a:pt x="0" y="1251"/>
                    </a:cubicBezTo>
                    <a:cubicBezTo>
                      <a:pt x="0" y="1317"/>
                      <a:pt x="70" y="1369"/>
                      <a:pt x="157" y="1369"/>
                    </a:cubicBezTo>
                    <a:cubicBezTo>
                      <a:pt x="238" y="1369"/>
                      <a:pt x="238" y="1369"/>
                      <a:pt x="238" y="1369"/>
                    </a:cubicBezTo>
                    <a:cubicBezTo>
                      <a:pt x="325" y="1369"/>
                      <a:pt x="395" y="1317"/>
                      <a:pt x="395" y="1251"/>
                    </a:cubicBezTo>
                    <a:cubicBezTo>
                      <a:pt x="395" y="118"/>
                      <a:pt x="395" y="118"/>
                      <a:pt x="395" y="118"/>
                    </a:cubicBezTo>
                    <a:cubicBezTo>
                      <a:pt x="395" y="52"/>
                      <a:pt x="325" y="0"/>
                      <a:pt x="2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10" name="Freeform 245" descr="© INSCALE GmbH, 21.06.2010">
                <a:extLst>
                  <a:ext uri="{FF2B5EF4-FFF2-40B4-BE49-F238E27FC236}">
                    <a16:creationId xmlns:a16="http://schemas.microsoft.com/office/drawing/2014/main" id="{971156FA-E498-48AA-A62B-6231A88F00E8}"/>
                  </a:ext>
                </a:extLst>
              </p:cNvPr>
              <p:cNvSpPr>
                <a:spLocks/>
              </p:cNvSpPr>
              <p:nvPr/>
            </p:nvSpPr>
            <p:spPr bwMode="gray">
              <a:xfrm>
                <a:off x="308" y="2391"/>
                <a:ext cx="44" cy="155"/>
              </a:xfrm>
              <a:custGeom>
                <a:avLst/>
                <a:gdLst>
                  <a:gd name="T0" fmla="*/ 238 w 395"/>
                  <a:gd name="T1" fmla="*/ 0 h 1369"/>
                  <a:gd name="T2" fmla="*/ 157 w 395"/>
                  <a:gd name="T3" fmla="*/ 0 h 1369"/>
                  <a:gd name="T4" fmla="*/ 0 w 395"/>
                  <a:gd name="T5" fmla="*/ 118 h 1369"/>
                  <a:gd name="T6" fmla="*/ 0 w 395"/>
                  <a:gd name="T7" fmla="*/ 1251 h 1369"/>
                  <a:gd name="T8" fmla="*/ 157 w 395"/>
                  <a:gd name="T9" fmla="*/ 1369 h 1369"/>
                  <a:gd name="T10" fmla="*/ 238 w 395"/>
                  <a:gd name="T11" fmla="*/ 1369 h 1369"/>
                  <a:gd name="T12" fmla="*/ 395 w 395"/>
                  <a:gd name="T13" fmla="*/ 1251 h 1369"/>
                  <a:gd name="T14" fmla="*/ 395 w 395"/>
                  <a:gd name="T15" fmla="*/ 118 h 1369"/>
                  <a:gd name="T16" fmla="*/ 238 w 395"/>
                  <a:gd name="T1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5" h="1369">
                    <a:moveTo>
                      <a:pt x="238" y="0"/>
                    </a:moveTo>
                    <a:cubicBezTo>
                      <a:pt x="157" y="0"/>
                      <a:pt x="157" y="0"/>
                      <a:pt x="157" y="0"/>
                    </a:cubicBezTo>
                    <a:cubicBezTo>
                      <a:pt x="70" y="0"/>
                      <a:pt x="0" y="52"/>
                      <a:pt x="0" y="118"/>
                    </a:cubicBezTo>
                    <a:cubicBezTo>
                      <a:pt x="0" y="1251"/>
                      <a:pt x="0" y="1251"/>
                      <a:pt x="0" y="1251"/>
                    </a:cubicBezTo>
                    <a:cubicBezTo>
                      <a:pt x="0" y="1317"/>
                      <a:pt x="70" y="1369"/>
                      <a:pt x="157" y="1369"/>
                    </a:cubicBezTo>
                    <a:cubicBezTo>
                      <a:pt x="238" y="1369"/>
                      <a:pt x="238" y="1369"/>
                      <a:pt x="238" y="1369"/>
                    </a:cubicBezTo>
                    <a:cubicBezTo>
                      <a:pt x="325" y="1369"/>
                      <a:pt x="395" y="1317"/>
                      <a:pt x="395" y="1251"/>
                    </a:cubicBezTo>
                    <a:cubicBezTo>
                      <a:pt x="395" y="118"/>
                      <a:pt x="395" y="118"/>
                      <a:pt x="395" y="118"/>
                    </a:cubicBezTo>
                    <a:cubicBezTo>
                      <a:pt x="395" y="52"/>
                      <a:pt x="325" y="0"/>
                      <a:pt x="2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11" name="Freeform 246" descr="© INSCALE GmbH, 21.06.2010">
                <a:extLst>
                  <a:ext uri="{FF2B5EF4-FFF2-40B4-BE49-F238E27FC236}">
                    <a16:creationId xmlns:a16="http://schemas.microsoft.com/office/drawing/2014/main" id="{47E0BC1D-5C10-44D3-B257-5A89C6B10E21}"/>
                  </a:ext>
                </a:extLst>
              </p:cNvPr>
              <p:cNvSpPr>
                <a:spLocks/>
              </p:cNvSpPr>
              <p:nvPr/>
            </p:nvSpPr>
            <p:spPr bwMode="gray">
              <a:xfrm>
                <a:off x="372" y="2603"/>
                <a:ext cx="99" cy="10"/>
              </a:xfrm>
              <a:custGeom>
                <a:avLst/>
                <a:gdLst>
                  <a:gd name="T0" fmla="*/ 0 w 865"/>
                  <a:gd name="T1" fmla="*/ 11 h 84"/>
                  <a:gd name="T2" fmla="*/ 0 w 865"/>
                  <a:gd name="T3" fmla="*/ 73 h 84"/>
                  <a:gd name="T4" fmla="*/ 58 w 865"/>
                  <a:gd name="T5" fmla="*/ 84 h 84"/>
                  <a:gd name="T6" fmla="*/ 807 w 865"/>
                  <a:gd name="T7" fmla="*/ 84 h 84"/>
                  <a:gd name="T8" fmla="*/ 865 w 865"/>
                  <a:gd name="T9" fmla="*/ 73 h 84"/>
                  <a:gd name="T10" fmla="*/ 865 w 865"/>
                  <a:gd name="T11" fmla="*/ 11 h 84"/>
                  <a:gd name="T12" fmla="*/ 807 w 865"/>
                  <a:gd name="T13" fmla="*/ 0 h 84"/>
                  <a:gd name="T14" fmla="*/ 58 w 865"/>
                  <a:gd name="T15" fmla="*/ 0 h 84"/>
                  <a:gd name="T16" fmla="*/ 0 w 865"/>
                  <a:gd name="T17" fmla="*/ 1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5" h="84">
                    <a:moveTo>
                      <a:pt x="0" y="11"/>
                    </a:moveTo>
                    <a:cubicBezTo>
                      <a:pt x="0" y="73"/>
                      <a:pt x="0" y="73"/>
                      <a:pt x="0" y="73"/>
                    </a:cubicBezTo>
                    <a:cubicBezTo>
                      <a:pt x="0" y="79"/>
                      <a:pt x="26" y="84"/>
                      <a:pt x="58" y="84"/>
                    </a:cubicBezTo>
                    <a:cubicBezTo>
                      <a:pt x="807" y="84"/>
                      <a:pt x="807" y="84"/>
                      <a:pt x="807" y="84"/>
                    </a:cubicBezTo>
                    <a:cubicBezTo>
                      <a:pt x="839" y="84"/>
                      <a:pt x="865" y="79"/>
                      <a:pt x="865" y="73"/>
                    </a:cubicBezTo>
                    <a:cubicBezTo>
                      <a:pt x="865" y="11"/>
                      <a:pt x="865" y="11"/>
                      <a:pt x="865" y="11"/>
                    </a:cubicBezTo>
                    <a:cubicBezTo>
                      <a:pt x="865" y="5"/>
                      <a:pt x="839" y="0"/>
                      <a:pt x="807" y="0"/>
                    </a:cubicBezTo>
                    <a:cubicBezTo>
                      <a:pt x="58" y="0"/>
                      <a:pt x="58" y="0"/>
                      <a:pt x="58" y="0"/>
                    </a:cubicBezTo>
                    <a:cubicBezTo>
                      <a:pt x="26" y="0"/>
                      <a:pt x="0" y="5"/>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12" name="Freeform 247" descr="© INSCALE GmbH, 21.06.2010">
                <a:extLst>
                  <a:ext uri="{FF2B5EF4-FFF2-40B4-BE49-F238E27FC236}">
                    <a16:creationId xmlns:a16="http://schemas.microsoft.com/office/drawing/2014/main" id="{C536B0D6-3E1A-4B38-A8CF-D7239FB3B8EE}"/>
                  </a:ext>
                </a:extLst>
              </p:cNvPr>
              <p:cNvSpPr>
                <a:spLocks/>
              </p:cNvSpPr>
              <p:nvPr/>
            </p:nvSpPr>
            <p:spPr bwMode="gray">
              <a:xfrm>
                <a:off x="372" y="2553"/>
                <a:ext cx="99" cy="9"/>
              </a:xfrm>
              <a:custGeom>
                <a:avLst/>
                <a:gdLst>
                  <a:gd name="T0" fmla="*/ 0 w 865"/>
                  <a:gd name="T1" fmla="*/ 11 h 84"/>
                  <a:gd name="T2" fmla="*/ 0 w 865"/>
                  <a:gd name="T3" fmla="*/ 73 h 84"/>
                  <a:gd name="T4" fmla="*/ 58 w 865"/>
                  <a:gd name="T5" fmla="*/ 84 h 84"/>
                  <a:gd name="T6" fmla="*/ 807 w 865"/>
                  <a:gd name="T7" fmla="*/ 84 h 84"/>
                  <a:gd name="T8" fmla="*/ 865 w 865"/>
                  <a:gd name="T9" fmla="*/ 73 h 84"/>
                  <a:gd name="T10" fmla="*/ 865 w 865"/>
                  <a:gd name="T11" fmla="*/ 11 h 84"/>
                  <a:gd name="T12" fmla="*/ 807 w 865"/>
                  <a:gd name="T13" fmla="*/ 0 h 84"/>
                  <a:gd name="T14" fmla="*/ 58 w 865"/>
                  <a:gd name="T15" fmla="*/ 0 h 84"/>
                  <a:gd name="T16" fmla="*/ 0 w 865"/>
                  <a:gd name="T17" fmla="*/ 1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5" h="84">
                    <a:moveTo>
                      <a:pt x="0" y="11"/>
                    </a:moveTo>
                    <a:cubicBezTo>
                      <a:pt x="0" y="73"/>
                      <a:pt x="0" y="73"/>
                      <a:pt x="0" y="73"/>
                    </a:cubicBezTo>
                    <a:cubicBezTo>
                      <a:pt x="0" y="79"/>
                      <a:pt x="26" y="84"/>
                      <a:pt x="58" y="84"/>
                    </a:cubicBezTo>
                    <a:cubicBezTo>
                      <a:pt x="807" y="84"/>
                      <a:pt x="807" y="84"/>
                      <a:pt x="807" y="84"/>
                    </a:cubicBezTo>
                    <a:cubicBezTo>
                      <a:pt x="839" y="84"/>
                      <a:pt x="865" y="79"/>
                      <a:pt x="865" y="73"/>
                    </a:cubicBezTo>
                    <a:cubicBezTo>
                      <a:pt x="865" y="11"/>
                      <a:pt x="865" y="11"/>
                      <a:pt x="865" y="11"/>
                    </a:cubicBezTo>
                    <a:cubicBezTo>
                      <a:pt x="865" y="5"/>
                      <a:pt x="839" y="0"/>
                      <a:pt x="807" y="0"/>
                    </a:cubicBezTo>
                    <a:cubicBezTo>
                      <a:pt x="58" y="0"/>
                      <a:pt x="58" y="0"/>
                      <a:pt x="58" y="0"/>
                    </a:cubicBezTo>
                    <a:cubicBezTo>
                      <a:pt x="26" y="0"/>
                      <a:pt x="0" y="5"/>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13" name="Freeform 248" descr="© INSCALE GmbH, 21.06.2010">
                <a:extLst>
                  <a:ext uri="{FF2B5EF4-FFF2-40B4-BE49-F238E27FC236}">
                    <a16:creationId xmlns:a16="http://schemas.microsoft.com/office/drawing/2014/main" id="{9ADF98D1-D744-4EE6-BCF9-E698787B9338}"/>
                  </a:ext>
                </a:extLst>
              </p:cNvPr>
              <p:cNvSpPr>
                <a:spLocks/>
              </p:cNvSpPr>
              <p:nvPr/>
            </p:nvSpPr>
            <p:spPr bwMode="gray">
              <a:xfrm>
                <a:off x="372" y="2578"/>
                <a:ext cx="99" cy="9"/>
              </a:xfrm>
              <a:custGeom>
                <a:avLst/>
                <a:gdLst>
                  <a:gd name="T0" fmla="*/ 0 w 865"/>
                  <a:gd name="T1" fmla="*/ 11 h 84"/>
                  <a:gd name="T2" fmla="*/ 0 w 865"/>
                  <a:gd name="T3" fmla="*/ 73 h 84"/>
                  <a:gd name="T4" fmla="*/ 58 w 865"/>
                  <a:gd name="T5" fmla="*/ 84 h 84"/>
                  <a:gd name="T6" fmla="*/ 807 w 865"/>
                  <a:gd name="T7" fmla="*/ 84 h 84"/>
                  <a:gd name="T8" fmla="*/ 865 w 865"/>
                  <a:gd name="T9" fmla="*/ 73 h 84"/>
                  <a:gd name="T10" fmla="*/ 865 w 865"/>
                  <a:gd name="T11" fmla="*/ 11 h 84"/>
                  <a:gd name="T12" fmla="*/ 807 w 865"/>
                  <a:gd name="T13" fmla="*/ 0 h 84"/>
                  <a:gd name="T14" fmla="*/ 58 w 865"/>
                  <a:gd name="T15" fmla="*/ 0 h 84"/>
                  <a:gd name="T16" fmla="*/ 0 w 865"/>
                  <a:gd name="T17" fmla="*/ 1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5" h="84">
                    <a:moveTo>
                      <a:pt x="0" y="11"/>
                    </a:moveTo>
                    <a:cubicBezTo>
                      <a:pt x="0" y="73"/>
                      <a:pt x="0" y="73"/>
                      <a:pt x="0" y="73"/>
                    </a:cubicBezTo>
                    <a:cubicBezTo>
                      <a:pt x="0" y="79"/>
                      <a:pt x="26" y="84"/>
                      <a:pt x="58" y="84"/>
                    </a:cubicBezTo>
                    <a:cubicBezTo>
                      <a:pt x="807" y="84"/>
                      <a:pt x="807" y="84"/>
                      <a:pt x="807" y="84"/>
                    </a:cubicBezTo>
                    <a:cubicBezTo>
                      <a:pt x="839" y="84"/>
                      <a:pt x="865" y="79"/>
                      <a:pt x="865" y="73"/>
                    </a:cubicBezTo>
                    <a:cubicBezTo>
                      <a:pt x="865" y="11"/>
                      <a:pt x="865" y="11"/>
                      <a:pt x="865" y="11"/>
                    </a:cubicBezTo>
                    <a:cubicBezTo>
                      <a:pt x="865" y="5"/>
                      <a:pt x="839" y="0"/>
                      <a:pt x="807" y="0"/>
                    </a:cubicBezTo>
                    <a:cubicBezTo>
                      <a:pt x="58" y="0"/>
                      <a:pt x="58" y="0"/>
                      <a:pt x="58" y="0"/>
                    </a:cubicBezTo>
                    <a:cubicBezTo>
                      <a:pt x="26" y="0"/>
                      <a:pt x="0" y="5"/>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14" name="Freeform 249" descr="© INSCALE GmbH, 21.06.2010">
                <a:extLst>
                  <a:ext uri="{FF2B5EF4-FFF2-40B4-BE49-F238E27FC236}">
                    <a16:creationId xmlns:a16="http://schemas.microsoft.com/office/drawing/2014/main" id="{BA9CC627-2F76-4808-AAF5-400374FFF490}"/>
                  </a:ext>
                </a:extLst>
              </p:cNvPr>
              <p:cNvSpPr>
                <a:spLocks/>
              </p:cNvSpPr>
              <p:nvPr/>
            </p:nvSpPr>
            <p:spPr bwMode="gray">
              <a:xfrm>
                <a:off x="479" y="2553"/>
                <a:ext cx="114" cy="60"/>
              </a:xfrm>
              <a:custGeom>
                <a:avLst/>
                <a:gdLst>
                  <a:gd name="T0" fmla="*/ 0 w 998"/>
                  <a:gd name="T1" fmla="*/ 70 h 530"/>
                  <a:gd name="T2" fmla="*/ 0 w 998"/>
                  <a:gd name="T3" fmla="*/ 460 h 530"/>
                  <a:gd name="T4" fmla="*/ 67 w 998"/>
                  <a:gd name="T5" fmla="*/ 530 h 530"/>
                  <a:gd name="T6" fmla="*/ 932 w 998"/>
                  <a:gd name="T7" fmla="*/ 530 h 530"/>
                  <a:gd name="T8" fmla="*/ 998 w 998"/>
                  <a:gd name="T9" fmla="*/ 460 h 530"/>
                  <a:gd name="T10" fmla="*/ 998 w 998"/>
                  <a:gd name="T11" fmla="*/ 70 h 530"/>
                  <a:gd name="T12" fmla="*/ 932 w 998"/>
                  <a:gd name="T13" fmla="*/ 0 h 530"/>
                  <a:gd name="T14" fmla="*/ 67 w 998"/>
                  <a:gd name="T15" fmla="*/ 0 h 530"/>
                  <a:gd name="T16" fmla="*/ 0 w 998"/>
                  <a:gd name="T17" fmla="*/ 7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8" h="530">
                    <a:moveTo>
                      <a:pt x="0" y="70"/>
                    </a:moveTo>
                    <a:cubicBezTo>
                      <a:pt x="0" y="460"/>
                      <a:pt x="0" y="460"/>
                      <a:pt x="0" y="460"/>
                    </a:cubicBezTo>
                    <a:cubicBezTo>
                      <a:pt x="0" y="498"/>
                      <a:pt x="30" y="530"/>
                      <a:pt x="67" y="530"/>
                    </a:cubicBezTo>
                    <a:cubicBezTo>
                      <a:pt x="932" y="530"/>
                      <a:pt x="932" y="530"/>
                      <a:pt x="932" y="530"/>
                    </a:cubicBezTo>
                    <a:cubicBezTo>
                      <a:pt x="969" y="530"/>
                      <a:pt x="998" y="498"/>
                      <a:pt x="998" y="460"/>
                    </a:cubicBezTo>
                    <a:cubicBezTo>
                      <a:pt x="998" y="70"/>
                      <a:pt x="998" y="70"/>
                      <a:pt x="998" y="70"/>
                    </a:cubicBezTo>
                    <a:cubicBezTo>
                      <a:pt x="998" y="31"/>
                      <a:pt x="969" y="0"/>
                      <a:pt x="932" y="0"/>
                    </a:cubicBezTo>
                    <a:cubicBezTo>
                      <a:pt x="67" y="0"/>
                      <a:pt x="67" y="0"/>
                      <a:pt x="67" y="0"/>
                    </a:cubicBezTo>
                    <a:cubicBezTo>
                      <a:pt x="30" y="0"/>
                      <a:pt x="0" y="31"/>
                      <a:pt x="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15" name="Freeform 250" descr="© INSCALE GmbH, 21.06.2010">
                <a:extLst>
                  <a:ext uri="{FF2B5EF4-FFF2-40B4-BE49-F238E27FC236}">
                    <a16:creationId xmlns:a16="http://schemas.microsoft.com/office/drawing/2014/main" id="{9409B0AC-EBDE-494F-9CF6-131A76583685}"/>
                  </a:ext>
                </a:extLst>
              </p:cNvPr>
              <p:cNvSpPr>
                <a:spLocks/>
              </p:cNvSpPr>
              <p:nvPr/>
            </p:nvSpPr>
            <p:spPr bwMode="gray">
              <a:xfrm>
                <a:off x="250" y="2553"/>
                <a:ext cx="114" cy="60"/>
              </a:xfrm>
              <a:custGeom>
                <a:avLst/>
                <a:gdLst>
                  <a:gd name="T0" fmla="*/ 0 w 999"/>
                  <a:gd name="T1" fmla="*/ 70 h 530"/>
                  <a:gd name="T2" fmla="*/ 0 w 999"/>
                  <a:gd name="T3" fmla="*/ 460 h 530"/>
                  <a:gd name="T4" fmla="*/ 67 w 999"/>
                  <a:gd name="T5" fmla="*/ 530 h 530"/>
                  <a:gd name="T6" fmla="*/ 932 w 999"/>
                  <a:gd name="T7" fmla="*/ 530 h 530"/>
                  <a:gd name="T8" fmla="*/ 999 w 999"/>
                  <a:gd name="T9" fmla="*/ 460 h 530"/>
                  <a:gd name="T10" fmla="*/ 999 w 999"/>
                  <a:gd name="T11" fmla="*/ 70 h 530"/>
                  <a:gd name="T12" fmla="*/ 932 w 999"/>
                  <a:gd name="T13" fmla="*/ 0 h 530"/>
                  <a:gd name="T14" fmla="*/ 67 w 999"/>
                  <a:gd name="T15" fmla="*/ 0 h 530"/>
                  <a:gd name="T16" fmla="*/ 0 w 999"/>
                  <a:gd name="T17" fmla="*/ 7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9" h="530">
                    <a:moveTo>
                      <a:pt x="0" y="70"/>
                    </a:moveTo>
                    <a:cubicBezTo>
                      <a:pt x="0" y="460"/>
                      <a:pt x="0" y="460"/>
                      <a:pt x="0" y="460"/>
                    </a:cubicBezTo>
                    <a:cubicBezTo>
                      <a:pt x="0" y="498"/>
                      <a:pt x="30" y="530"/>
                      <a:pt x="67" y="530"/>
                    </a:cubicBezTo>
                    <a:cubicBezTo>
                      <a:pt x="932" y="530"/>
                      <a:pt x="932" y="530"/>
                      <a:pt x="932" y="530"/>
                    </a:cubicBezTo>
                    <a:cubicBezTo>
                      <a:pt x="969" y="530"/>
                      <a:pt x="999" y="498"/>
                      <a:pt x="999" y="460"/>
                    </a:cubicBezTo>
                    <a:cubicBezTo>
                      <a:pt x="999" y="70"/>
                      <a:pt x="999" y="70"/>
                      <a:pt x="999" y="70"/>
                    </a:cubicBezTo>
                    <a:cubicBezTo>
                      <a:pt x="999" y="31"/>
                      <a:pt x="969" y="0"/>
                      <a:pt x="932" y="0"/>
                    </a:cubicBezTo>
                    <a:cubicBezTo>
                      <a:pt x="67" y="0"/>
                      <a:pt x="67" y="0"/>
                      <a:pt x="67" y="0"/>
                    </a:cubicBezTo>
                    <a:cubicBezTo>
                      <a:pt x="30" y="0"/>
                      <a:pt x="0" y="31"/>
                      <a:pt x="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16" name="Freeform 251" descr="© INSCALE GmbH, 21.06.2010">
                <a:extLst>
                  <a:ext uri="{FF2B5EF4-FFF2-40B4-BE49-F238E27FC236}">
                    <a16:creationId xmlns:a16="http://schemas.microsoft.com/office/drawing/2014/main" id="{3BF99C98-D1CE-4810-9862-3387E37EDE5B}"/>
                  </a:ext>
                </a:extLst>
              </p:cNvPr>
              <p:cNvSpPr>
                <a:spLocks/>
              </p:cNvSpPr>
              <p:nvPr/>
            </p:nvSpPr>
            <p:spPr bwMode="gray">
              <a:xfrm>
                <a:off x="242" y="2308"/>
                <a:ext cx="364" cy="76"/>
              </a:xfrm>
              <a:custGeom>
                <a:avLst/>
                <a:gdLst>
                  <a:gd name="T0" fmla="*/ 1468 w 3206"/>
                  <a:gd name="T1" fmla="*/ 21 h 672"/>
                  <a:gd name="T2" fmla="*/ 1450 w 3206"/>
                  <a:gd name="T3" fmla="*/ 29 h 672"/>
                  <a:gd name="T4" fmla="*/ 30 w 3206"/>
                  <a:gd name="T5" fmla="*/ 583 h 672"/>
                  <a:gd name="T6" fmla="*/ 0 w 3206"/>
                  <a:gd name="T7" fmla="*/ 615 h 672"/>
                  <a:gd name="T8" fmla="*/ 176 w 3206"/>
                  <a:gd name="T9" fmla="*/ 672 h 672"/>
                  <a:gd name="T10" fmla="*/ 3030 w 3206"/>
                  <a:gd name="T11" fmla="*/ 672 h 672"/>
                  <a:gd name="T12" fmla="*/ 3206 w 3206"/>
                  <a:gd name="T13" fmla="*/ 615 h 672"/>
                  <a:gd name="T14" fmla="*/ 3177 w 3206"/>
                  <a:gd name="T15" fmla="*/ 583 h 672"/>
                  <a:gd name="T16" fmla="*/ 1740 w 3206"/>
                  <a:gd name="T17" fmla="*/ 21 h 672"/>
                  <a:gd name="T18" fmla="*/ 1738 w 3206"/>
                  <a:gd name="T19" fmla="*/ 21 h 672"/>
                  <a:gd name="T20" fmla="*/ 1603 w 3206"/>
                  <a:gd name="T21" fmla="*/ 0 h 672"/>
                  <a:gd name="T22" fmla="*/ 1468 w 3206"/>
                  <a:gd name="T23" fmla="*/ 21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6" h="672">
                    <a:moveTo>
                      <a:pt x="1468" y="21"/>
                    </a:moveTo>
                    <a:cubicBezTo>
                      <a:pt x="1450" y="29"/>
                      <a:pt x="1450" y="29"/>
                      <a:pt x="1450" y="29"/>
                    </a:cubicBezTo>
                    <a:cubicBezTo>
                      <a:pt x="30" y="583"/>
                      <a:pt x="30" y="583"/>
                      <a:pt x="30" y="583"/>
                    </a:cubicBezTo>
                    <a:cubicBezTo>
                      <a:pt x="10" y="592"/>
                      <a:pt x="0" y="603"/>
                      <a:pt x="0" y="615"/>
                    </a:cubicBezTo>
                    <a:cubicBezTo>
                      <a:pt x="0" y="646"/>
                      <a:pt x="79" y="672"/>
                      <a:pt x="176" y="672"/>
                    </a:cubicBezTo>
                    <a:cubicBezTo>
                      <a:pt x="3030" y="672"/>
                      <a:pt x="3030" y="672"/>
                      <a:pt x="3030" y="672"/>
                    </a:cubicBezTo>
                    <a:cubicBezTo>
                      <a:pt x="3127" y="672"/>
                      <a:pt x="3206" y="646"/>
                      <a:pt x="3206" y="615"/>
                    </a:cubicBezTo>
                    <a:cubicBezTo>
                      <a:pt x="3206" y="603"/>
                      <a:pt x="3196" y="592"/>
                      <a:pt x="3177" y="583"/>
                    </a:cubicBezTo>
                    <a:cubicBezTo>
                      <a:pt x="1740" y="21"/>
                      <a:pt x="1740" y="21"/>
                      <a:pt x="1740" y="21"/>
                    </a:cubicBezTo>
                    <a:cubicBezTo>
                      <a:pt x="1738" y="21"/>
                      <a:pt x="1738" y="21"/>
                      <a:pt x="1738" y="21"/>
                    </a:cubicBezTo>
                    <a:cubicBezTo>
                      <a:pt x="1704" y="7"/>
                      <a:pt x="1655" y="0"/>
                      <a:pt x="1603" y="0"/>
                    </a:cubicBezTo>
                    <a:cubicBezTo>
                      <a:pt x="1551" y="0"/>
                      <a:pt x="1501" y="7"/>
                      <a:pt x="146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grpSp>
        <p:sp>
          <p:nvSpPr>
            <p:cNvPr id="7" name="Rectangle 6"/>
            <p:cNvSpPr/>
            <p:nvPr/>
          </p:nvSpPr>
          <p:spPr>
            <a:xfrm>
              <a:off x="3362884" y="3186600"/>
              <a:ext cx="2247670" cy="276999"/>
            </a:xfrm>
            <a:prstGeom prst="rect">
              <a:avLst/>
            </a:prstGeom>
          </p:spPr>
          <p:txBody>
            <a:bodyPr wrap="square">
              <a:spAutoFit/>
            </a:bodyPr>
            <a:lstStyle/>
            <a:p>
              <a:pPr lvl="0" algn="ctr"/>
              <a:r>
                <a:rPr lang="en-US" sz="1200" dirty="0">
                  <a:solidFill>
                    <a:srgbClr val="552684"/>
                  </a:solidFill>
                  <a:latin typeface="GT Walsheim Medium" panose="02000603040000020003" pitchFamily="50" charset="0"/>
                </a:rPr>
                <a:t>IG Steering Committee</a:t>
              </a:r>
            </a:p>
          </p:txBody>
        </p:sp>
      </p:grpSp>
      <p:cxnSp>
        <p:nvCxnSpPr>
          <p:cNvPr id="17" name="Straight Connector 16"/>
          <p:cNvCxnSpPr/>
          <p:nvPr/>
        </p:nvCxnSpPr>
        <p:spPr>
          <a:xfrm flipV="1">
            <a:off x="2480717" y="2465860"/>
            <a:ext cx="3657044" cy="16937"/>
          </a:xfrm>
          <a:prstGeom prst="line">
            <a:avLst/>
          </a:prstGeom>
          <a:ln w="28575">
            <a:solidFill>
              <a:srgbClr val="3D1C6C"/>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495164" y="2500051"/>
            <a:ext cx="0" cy="118345"/>
          </a:xfrm>
          <a:prstGeom prst="line">
            <a:avLst/>
          </a:prstGeom>
          <a:ln w="28575">
            <a:solidFill>
              <a:srgbClr val="3D1C6C"/>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6137761" y="2476770"/>
            <a:ext cx="0" cy="118345"/>
          </a:xfrm>
          <a:prstGeom prst="line">
            <a:avLst/>
          </a:prstGeom>
          <a:ln w="28575">
            <a:solidFill>
              <a:srgbClr val="3D1C6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439136" y="2265049"/>
            <a:ext cx="0" cy="117627"/>
          </a:xfrm>
          <a:prstGeom prst="line">
            <a:avLst/>
          </a:prstGeom>
          <a:ln w="28575">
            <a:solidFill>
              <a:srgbClr val="3D1C6C"/>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5533200" y="3395145"/>
            <a:ext cx="1386023" cy="276999"/>
          </a:xfrm>
          <a:prstGeom prst="rect">
            <a:avLst/>
          </a:prstGeom>
        </p:spPr>
        <p:txBody>
          <a:bodyPr wrap="square">
            <a:spAutoFit/>
          </a:bodyPr>
          <a:lstStyle/>
          <a:p>
            <a:pPr lvl="0" algn="ctr"/>
            <a:r>
              <a:rPr lang="en-US" sz="1200" dirty="0">
                <a:solidFill>
                  <a:srgbClr val="552684"/>
                </a:solidFill>
                <a:latin typeface="GT Walsheim Medium" panose="02000603040000020003" pitchFamily="50" charset="0"/>
              </a:rPr>
              <a:t>Legal</a:t>
            </a:r>
          </a:p>
        </p:txBody>
      </p:sp>
      <p:pic>
        <p:nvPicPr>
          <p:cNvPr id="22" name="Picture 80" descr="image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08071" y="2649642"/>
            <a:ext cx="838197" cy="83819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3" name="Picture 80" descr="image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96765" y="2606058"/>
            <a:ext cx="838197" cy="83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p:cNvSpPr/>
          <p:nvPr/>
        </p:nvSpPr>
        <p:spPr>
          <a:xfrm>
            <a:off x="3856704" y="3434422"/>
            <a:ext cx="1386023" cy="461665"/>
          </a:xfrm>
          <a:prstGeom prst="rect">
            <a:avLst/>
          </a:prstGeom>
        </p:spPr>
        <p:txBody>
          <a:bodyPr wrap="square">
            <a:spAutoFit/>
          </a:bodyPr>
          <a:lstStyle/>
          <a:p>
            <a:pPr lvl="0" algn="ctr"/>
            <a:r>
              <a:rPr lang="en-US" sz="1200" dirty="0">
                <a:solidFill>
                  <a:srgbClr val="552684"/>
                </a:solidFill>
                <a:latin typeface="GT Walsheim Medium" panose="02000603040000020003" pitchFamily="50" charset="0"/>
              </a:rPr>
              <a:t>Knowledge Management</a:t>
            </a:r>
          </a:p>
        </p:txBody>
      </p:sp>
      <p:pic>
        <p:nvPicPr>
          <p:cNvPr id="25" name="Picture 80" descr="image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20269" y="2645335"/>
            <a:ext cx="838197" cy="83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46244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icies, processes, and controls</a:t>
            </a:r>
          </a:p>
        </p:txBody>
      </p:sp>
      <p:sp>
        <p:nvSpPr>
          <p:cNvPr id="3" name="Slide Number Placeholder 2"/>
          <p:cNvSpPr>
            <a:spLocks noGrp="1"/>
          </p:cNvSpPr>
          <p:nvPr>
            <p:ph type="sldNum" sz="quarter" idx="4"/>
          </p:nvPr>
        </p:nvSpPr>
        <p:spPr/>
        <p:txBody>
          <a:bodyPr/>
          <a:lstStyle/>
          <a:p>
            <a:fld id="{0E0C512C-2A69-4D15-9349-877CDA6B8ABD}" type="slidenum">
              <a:rPr lang="en-GB" smtClean="0"/>
              <a:pPr/>
              <a:t>16</a:t>
            </a:fld>
            <a:endParaRPr lang="en-GB" dirty="0"/>
          </a:p>
        </p:txBody>
      </p:sp>
      <p:sp>
        <p:nvSpPr>
          <p:cNvPr id="4" name="TextBox 3"/>
          <p:cNvSpPr txBox="1"/>
          <p:nvPr/>
        </p:nvSpPr>
        <p:spPr>
          <a:xfrm>
            <a:off x="501092" y="1228954"/>
            <a:ext cx="7929676" cy="1938992"/>
          </a:xfrm>
          <a:prstGeom prst="rect">
            <a:avLst/>
          </a:prstGeom>
          <a:noFill/>
        </p:spPr>
        <p:txBody>
          <a:bodyPr wrap="square" rtlCol="0">
            <a:spAutoFit/>
          </a:bodyPr>
          <a:lstStyle/>
          <a:p>
            <a:pPr marL="457200" indent="-457200" fontAlgn="ctr">
              <a:buFont typeface="Arial" panose="020B0604020202020204" pitchFamily="34" charset="0"/>
              <a:buChar char="•"/>
            </a:pPr>
            <a:r>
              <a:rPr lang="en-US" sz="2400" dirty="0"/>
              <a:t>New policies, processes, and controls</a:t>
            </a:r>
          </a:p>
          <a:p>
            <a:pPr marL="914400" lvl="1" indent="-457200" fontAlgn="ctr">
              <a:buFont typeface="Courier New" panose="02070309020205020404" pitchFamily="49" charset="0"/>
              <a:buChar char="o"/>
            </a:pPr>
            <a:r>
              <a:rPr lang="en-US" sz="2400" dirty="0"/>
              <a:t>Information security &amp; technology usage</a:t>
            </a:r>
          </a:p>
          <a:p>
            <a:pPr marL="914400" lvl="1" indent="-457200" fontAlgn="ctr">
              <a:buFont typeface="Courier New" panose="02070309020205020404" pitchFamily="49" charset="0"/>
              <a:buChar char="o"/>
            </a:pPr>
            <a:r>
              <a:rPr lang="en-US" sz="2400" dirty="0"/>
              <a:t>Information classification </a:t>
            </a:r>
          </a:p>
          <a:p>
            <a:pPr marL="914400" lvl="1" indent="-457200" fontAlgn="ctr">
              <a:buFont typeface="Courier New" panose="02070309020205020404" pitchFamily="49" charset="0"/>
              <a:buChar char="o"/>
            </a:pPr>
            <a:r>
              <a:rPr lang="en-US" sz="2400" dirty="0"/>
              <a:t>Data loss prevention </a:t>
            </a:r>
          </a:p>
          <a:p>
            <a:endParaRPr lang="en-US" sz="2400" dirty="0"/>
          </a:p>
        </p:txBody>
      </p:sp>
    </p:spTree>
    <p:extLst>
      <p:ext uri="{BB962C8B-B14F-4D97-AF65-F5344CB8AC3E}">
        <p14:creationId xmlns:p14="http://schemas.microsoft.com/office/powerpoint/2010/main" val="34095631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Security &amp; technology usage policy</a:t>
            </a:r>
          </a:p>
        </p:txBody>
      </p:sp>
      <p:sp>
        <p:nvSpPr>
          <p:cNvPr id="3" name="Slide Number Placeholder 2"/>
          <p:cNvSpPr>
            <a:spLocks noGrp="1"/>
          </p:cNvSpPr>
          <p:nvPr>
            <p:ph type="sldNum" sz="quarter" idx="4"/>
          </p:nvPr>
        </p:nvSpPr>
        <p:spPr/>
        <p:txBody>
          <a:bodyPr/>
          <a:lstStyle/>
          <a:p>
            <a:fld id="{0E0C512C-2A69-4D15-9349-877CDA6B8ABD}" type="slidenum">
              <a:rPr lang="en-GB" smtClean="0"/>
              <a:pPr/>
              <a:t>17</a:t>
            </a:fld>
            <a:endParaRPr lang="en-GB" dirty="0"/>
          </a:p>
        </p:txBody>
      </p:sp>
      <p:sp>
        <p:nvSpPr>
          <p:cNvPr id="4" name="TextBox 3"/>
          <p:cNvSpPr txBox="1"/>
          <p:nvPr/>
        </p:nvSpPr>
        <p:spPr>
          <a:xfrm>
            <a:off x="501092" y="1433779"/>
            <a:ext cx="7929676" cy="3046988"/>
          </a:xfrm>
          <a:prstGeom prst="rect">
            <a:avLst/>
          </a:prstGeom>
          <a:noFill/>
        </p:spPr>
        <p:txBody>
          <a:bodyPr wrap="square" rtlCol="0">
            <a:spAutoFit/>
          </a:bodyPr>
          <a:lstStyle/>
          <a:p>
            <a:pPr marL="457200" indent="-457200" fontAlgn="ctr">
              <a:buFont typeface="Arial" panose="020B0604020202020204" pitchFamily="34" charset="0"/>
              <a:buChar char="•"/>
            </a:pPr>
            <a:r>
              <a:rPr lang="en-US" sz="2400" dirty="0"/>
              <a:t>Cover a broad scope – standards based</a:t>
            </a:r>
          </a:p>
          <a:p>
            <a:pPr marL="457200" indent="-457200" fontAlgn="ctr">
              <a:buFont typeface="Arial" panose="020B0604020202020204" pitchFamily="34" charset="0"/>
              <a:buChar char="•"/>
            </a:pPr>
            <a:r>
              <a:rPr lang="en-US" sz="2400" dirty="0"/>
              <a:t>Not for marketing – have a separate document</a:t>
            </a:r>
          </a:p>
          <a:p>
            <a:pPr marL="457200" indent="-457200" fontAlgn="ctr">
              <a:buFont typeface="Arial" panose="020B0604020202020204" pitchFamily="34" charset="0"/>
              <a:buChar char="•"/>
            </a:pPr>
            <a:r>
              <a:rPr lang="en-US" sz="2400" dirty="0"/>
              <a:t>Periodically refresh</a:t>
            </a:r>
          </a:p>
          <a:p>
            <a:pPr marL="914400" lvl="1" indent="-457200" fontAlgn="ctr">
              <a:buFont typeface="Courier New" panose="02070309020205020404" pitchFamily="49" charset="0"/>
              <a:buChar char="o"/>
            </a:pPr>
            <a:r>
              <a:rPr lang="en-US" sz="2400" dirty="0"/>
              <a:t>Issues experienced (security and other incidents)</a:t>
            </a:r>
          </a:p>
          <a:p>
            <a:pPr marL="914400" lvl="1" indent="-457200" fontAlgn="ctr">
              <a:buFont typeface="Courier New" panose="02070309020205020404" pitchFamily="49" charset="0"/>
              <a:buChar char="o"/>
            </a:pPr>
            <a:r>
              <a:rPr lang="en-US" sz="2400" dirty="0"/>
              <a:t>Trends from the SOC</a:t>
            </a:r>
          </a:p>
          <a:p>
            <a:pPr marL="914400" lvl="1" indent="-457200" fontAlgn="ctr">
              <a:buFont typeface="Courier New" panose="02070309020205020404" pitchFamily="49" charset="0"/>
              <a:buChar char="o"/>
            </a:pPr>
            <a:r>
              <a:rPr lang="en-US" sz="2400" dirty="0"/>
              <a:t>Audit findings</a:t>
            </a:r>
          </a:p>
          <a:p>
            <a:pPr marL="914400" lvl="1" indent="-457200" fontAlgn="ctr">
              <a:buFont typeface="Courier New" panose="02070309020205020404" pitchFamily="49" charset="0"/>
              <a:buChar char="o"/>
            </a:pPr>
            <a:r>
              <a:rPr lang="en-US" sz="2400" dirty="0"/>
              <a:t>General pain points</a:t>
            </a:r>
          </a:p>
          <a:p>
            <a:endParaRPr lang="en-US" sz="2400" dirty="0"/>
          </a:p>
        </p:txBody>
      </p:sp>
    </p:spTree>
    <p:extLst>
      <p:ext uri="{BB962C8B-B14F-4D97-AF65-F5344CB8AC3E}">
        <p14:creationId xmlns:p14="http://schemas.microsoft.com/office/powerpoint/2010/main" val="20877983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classification policy</a:t>
            </a:r>
          </a:p>
        </p:txBody>
      </p:sp>
      <p:sp>
        <p:nvSpPr>
          <p:cNvPr id="3" name="Slide Number Placeholder 2"/>
          <p:cNvSpPr>
            <a:spLocks noGrp="1"/>
          </p:cNvSpPr>
          <p:nvPr>
            <p:ph type="sldNum" sz="quarter" idx="4"/>
          </p:nvPr>
        </p:nvSpPr>
        <p:spPr/>
        <p:txBody>
          <a:bodyPr/>
          <a:lstStyle/>
          <a:p>
            <a:fld id="{0E0C512C-2A69-4D15-9349-877CDA6B8ABD}" type="slidenum">
              <a:rPr lang="en-GB" smtClean="0"/>
              <a:pPr/>
              <a:t>18</a:t>
            </a:fld>
            <a:endParaRPr lang="en-GB" dirty="0"/>
          </a:p>
        </p:txBody>
      </p:sp>
      <p:sp>
        <p:nvSpPr>
          <p:cNvPr id="4" name="Content Placeholder 2"/>
          <p:cNvSpPr txBox="1">
            <a:spLocks/>
          </p:cNvSpPr>
          <p:nvPr/>
        </p:nvSpPr>
        <p:spPr>
          <a:xfrm>
            <a:off x="360364" y="1028700"/>
            <a:ext cx="8269286" cy="3148028"/>
          </a:xfrm>
          <a:prstGeom prst="rect">
            <a:avLst/>
          </a:prstGeom>
        </p:spPr>
        <p:txBody>
          <a:bodyPr/>
          <a:lstStyle>
            <a:lvl1pPr marL="0" indent="0" algn="l" rtl="0" eaLnBrk="1" fontAlgn="base" hangingPunct="1">
              <a:spcBef>
                <a:spcPct val="20000"/>
              </a:spcBef>
              <a:spcAft>
                <a:spcPct val="0"/>
              </a:spcAft>
              <a:buNone/>
              <a:defRPr sz="1800">
                <a:solidFill>
                  <a:schemeClr val="tx1">
                    <a:lumMod val="65000"/>
                    <a:lumOff val="35000"/>
                  </a:schemeClr>
                </a:solidFill>
                <a:latin typeface="+mn-lt"/>
                <a:ea typeface="+mn-ea"/>
                <a:cs typeface="+mn-cs"/>
              </a:defRPr>
            </a:lvl1pPr>
            <a:lvl2pPr marL="742950" indent="-285750" algn="l" rtl="0" eaLnBrk="1" fontAlgn="base" hangingPunct="1">
              <a:spcBef>
                <a:spcPct val="20000"/>
              </a:spcBef>
              <a:spcAft>
                <a:spcPct val="0"/>
              </a:spcAft>
              <a:buFont typeface="Arial"/>
              <a:buChar char="•"/>
              <a:defRPr sz="1800">
                <a:solidFill>
                  <a:schemeClr val="tx1">
                    <a:lumMod val="65000"/>
                    <a:lumOff val="35000"/>
                  </a:schemeClr>
                </a:solidFill>
                <a:latin typeface="+mn-lt"/>
              </a:defRPr>
            </a:lvl2pPr>
            <a:lvl3pPr marL="1200150" indent="-285750" algn="l" rtl="0" eaLnBrk="1" fontAlgn="base" hangingPunct="1">
              <a:spcBef>
                <a:spcPct val="20000"/>
              </a:spcBef>
              <a:spcAft>
                <a:spcPct val="0"/>
              </a:spcAft>
              <a:buFont typeface="Arial"/>
              <a:buChar char="•"/>
              <a:defRPr sz="1800">
                <a:solidFill>
                  <a:schemeClr val="tx1">
                    <a:lumMod val="65000"/>
                    <a:lumOff val="35000"/>
                  </a:schemeClr>
                </a:solidFill>
                <a:latin typeface="+mn-lt"/>
              </a:defRPr>
            </a:lvl3pPr>
            <a:lvl4pPr marL="1657350" indent="-285750" algn="l" rtl="0" eaLnBrk="1" fontAlgn="base" hangingPunct="1">
              <a:spcBef>
                <a:spcPct val="20000"/>
              </a:spcBef>
              <a:spcAft>
                <a:spcPct val="0"/>
              </a:spcAft>
              <a:buFont typeface="Arial"/>
              <a:buChar char="•"/>
              <a:defRPr sz="1800">
                <a:solidFill>
                  <a:schemeClr val="tx1">
                    <a:lumMod val="65000"/>
                    <a:lumOff val="35000"/>
                  </a:schemeClr>
                </a:solidFill>
                <a:latin typeface="+mn-lt"/>
              </a:defRPr>
            </a:lvl4pPr>
            <a:lvl5pPr marL="2114550" indent="-285750" algn="l" rtl="0" eaLnBrk="1" fontAlgn="base" hangingPunct="1">
              <a:spcBef>
                <a:spcPct val="20000"/>
              </a:spcBef>
              <a:spcAft>
                <a:spcPct val="0"/>
              </a:spcAft>
              <a:buFont typeface="Arial"/>
              <a:buChar char="•"/>
              <a:defRPr sz="1800">
                <a:solidFill>
                  <a:schemeClr val="tx1">
                    <a:lumMod val="65000"/>
                    <a:lumOff val="35000"/>
                  </a:schemeClr>
                </a:solidFill>
                <a:latin typeface="+mn-lt"/>
              </a:defRPr>
            </a:lvl5pPr>
            <a:lvl6pPr marL="2514600" indent="-228600" algn="l" rtl="0" eaLnBrk="1" fontAlgn="base" hangingPunct="1">
              <a:spcBef>
                <a:spcPct val="20000"/>
              </a:spcBef>
              <a:spcAft>
                <a:spcPct val="0"/>
              </a:spcAft>
              <a:buChar char="»"/>
              <a:defRPr sz="2800">
                <a:solidFill>
                  <a:schemeClr val="tx1"/>
                </a:solidFill>
                <a:latin typeface="+mn-lt"/>
              </a:defRPr>
            </a:lvl6pPr>
            <a:lvl7pPr marL="2971800" indent="-228600" algn="l" rtl="0" eaLnBrk="1" fontAlgn="base" hangingPunct="1">
              <a:spcBef>
                <a:spcPct val="20000"/>
              </a:spcBef>
              <a:spcAft>
                <a:spcPct val="0"/>
              </a:spcAft>
              <a:buChar char="»"/>
              <a:defRPr sz="2800">
                <a:solidFill>
                  <a:schemeClr val="tx1"/>
                </a:solidFill>
                <a:latin typeface="+mn-lt"/>
              </a:defRPr>
            </a:lvl7pPr>
            <a:lvl8pPr marL="3429000" indent="-228600" algn="l" rtl="0" eaLnBrk="1" fontAlgn="base" hangingPunct="1">
              <a:spcBef>
                <a:spcPct val="20000"/>
              </a:spcBef>
              <a:spcAft>
                <a:spcPct val="0"/>
              </a:spcAft>
              <a:buChar char="»"/>
              <a:defRPr sz="2800">
                <a:solidFill>
                  <a:schemeClr val="tx1"/>
                </a:solidFill>
                <a:latin typeface="+mn-lt"/>
              </a:defRPr>
            </a:lvl8pPr>
            <a:lvl9pPr marL="3886200" indent="-228600" algn="l" rtl="0" eaLnBrk="1" fontAlgn="base" hangingPunct="1">
              <a:spcBef>
                <a:spcPct val="20000"/>
              </a:spcBef>
              <a:spcAft>
                <a:spcPct val="0"/>
              </a:spcAft>
              <a:buChar char="»"/>
              <a:defRPr sz="2800">
                <a:solidFill>
                  <a:schemeClr val="tx1"/>
                </a:solidFill>
                <a:latin typeface="+mn-lt"/>
              </a:defRPr>
            </a:lvl9pPr>
          </a:lstStyle>
          <a:p>
            <a:r>
              <a:rPr lang="en-US" kern="0" dirty="0">
                <a:solidFill>
                  <a:schemeClr val="tx1"/>
                </a:solidFill>
                <a:latin typeface="Arial" panose="020B0604020202020204" pitchFamily="34" charset="0"/>
                <a:cs typeface="Arial" panose="020B0604020202020204" pitchFamily="34" charset="0"/>
              </a:rPr>
              <a:t>Grant Thornton LLP is committed to </a:t>
            </a:r>
            <a:r>
              <a:rPr lang="en-US" b="1" kern="0" dirty="0">
                <a:solidFill>
                  <a:srgbClr val="4F2D7F"/>
                </a:solidFill>
                <a:latin typeface="Arial" panose="020B0604020202020204" pitchFamily="34" charset="0"/>
                <a:cs typeface="Arial" panose="020B0604020202020204" pitchFamily="34" charset="0"/>
              </a:rPr>
              <a:t>safeguarding the information </a:t>
            </a:r>
            <a:r>
              <a:rPr lang="en-US" kern="0" dirty="0">
                <a:latin typeface="Arial" panose="020B0604020202020204" pitchFamily="34" charset="0"/>
                <a:cs typeface="Arial" panose="020B0604020202020204" pitchFamily="34" charset="0"/>
              </a:rPr>
              <a:t>we manage for </a:t>
            </a:r>
            <a:r>
              <a:rPr lang="en-US" b="1" kern="0" dirty="0">
                <a:solidFill>
                  <a:srgbClr val="4F2D7F"/>
                </a:solidFill>
                <a:latin typeface="Arial" panose="020B0604020202020204" pitchFamily="34" charset="0"/>
                <a:cs typeface="Arial" panose="020B0604020202020204" pitchFamily="34" charset="0"/>
              </a:rPr>
              <a:t>our clients, our employees and other third parties </a:t>
            </a:r>
            <a:r>
              <a:rPr lang="en-US" kern="0" dirty="0">
                <a:solidFill>
                  <a:schemeClr val="tx1"/>
                </a:solidFill>
                <a:latin typeface="Arial" panose="020B0604020202020204" pitchFamily="34" charset="0"/>
                <a:cs typeface="Arial" panose="020B0604020202020204" pitchFamily="34" charset="0"/>
              </a:rPr>
              <a:t>to whom we owe a duty of confidentiality, and the firm. It is Grant Thornton’s policy to manage information to </a:t>
            </a:r>
            <a:r>
              <a:rPr lang="en-US" b="1" kern="0" dirty="0">
                <a:solidFill>
                  <a:srgbClr val="4F2D7F"/>
                </a:solidFill>
                <a:latin typeface="Arial" panose="020B0604020202020204" pitchFamily="34" charset="0"/>
                <a:cs typeface="Arial" panose="020B0604020202020204" pitchFamily="34" charset="0"/>
              </a:rPr>
              <a:t>avoid loss, damage or inappropriate access, </a:t>
            </a:r>
            <a:r>
              <a:rPr lang="en-US" kern="0" dirty="0">
                <a:latin typeface="Arial" panose="020B0604020202020204" pitchFamily="34" charset="0"/>
                <a:cs typeface="Arial" panose="020B0604020202020204" pitchFamily="34" charset="0"/>
              </a:rPr>
              <a:t>and</a:t>
            </a:r>
            <a:r>
              <a:rPr lang="en-US" b="1" kern="0" dirty="0">
                <a:latin typeface="Arial" panose="020B0604020202020204" pitchFamily="34" charset="0"/>
                <a:cs typeface="Arial" panose="020B0604020202020204" pitchFamily="34" charset="0"/>
              </a:rPr>
              <a:t> </a:t>
            </a:r>
            <a:r>
              <a:rPr lang="en-US" b="1" kern="0" dirty="0">
                <a:solidFill>
                  <a:srgbClr val="4F2D7F"/>
                </a:solidFill>
                <a:latin typeface="Arial" panose="020B0604020202020204" pitchFamily="34" charset="0"/>
                <a:cs typeface="Arial" panose="020B0604020202020204" pitchFamily="34" charset="0"/>
              </a:rPr>
              <a:t>in compliance</a:t>
            </a:r>
            <a:r>
              <a:rPr lang="en-US" b="1" kern="0" dirty="0">
                <a:solidFill>
                  <a:srgbClr val="824BB0"/>
                </a:solidFill>
                <a:latin typeface="Arial" panose="020B0604020202020204" pitchFamily="34" charset="0"/>
                <a:cs typeface="Arial" panose="020B0604020202020204" pitchFamily="34" charset="0"/>
              </a:rPr>
              <a:t> </a:t>
            </a:r>
            <a:r>
              <a:rPr lang="en-US" kern="0" dirty="0">
                <a:solidFill>
                  <a:schemeClr val="tx1"/>
                </a:solidFill>
                <a:latin typeface="Arial" panose="020B0604020202020204" pitchFamily="34" charset="0"/>
                <a:cs typeface="Arial" panose="020B0604020202020204" pitchFamily="34" charset="0"/>
              </a:rPr>
              <a:t>with applicable legal, regulatory and contractual obligations.  </a:t>
            </a:r>
          </a:p>
          <a:p>
            <a:endParaRPr lang="en-US" kern="0" dirty="0"/>
          </a:p>
          <a:p>
            <a:endParaRPr lang="en-US" kern="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093" y="2724275"/>
            <a:ext cx="1558379" cy="155837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46833" y="2738185"/>
            <a:ext cx="1544469" cy="1544469"/>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04663" y="2829769"/>
            <a:ext cx="1346959" cy="1346959"/>
          </a:xfrm>
          <a:prstGeom prst="rect">
            <a:avLst/>
          </a:prstGeom>
        </p:spPr>
      </p:pic>
    </p:spTree>
    <p:extLst>
      <p:ext uri="{BB962C8B-B14F-4D97-AF65-F5344CB8AC3E}">
        <p14:creationId xmlns:p14="http://schemas.microsoft.com/office/powerpoint/2010/main" val="36291120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classifications and examples</a:t>
            </a:r>
          </a:p>
        </p:txBody>
      </p:sp>
      <p:sp>
        <p:nvSpPr>
          <p:cNvPr id="3" name="Slide Number Placeholder 2"/>
          <p:cNvSpPr>
            <a:spLocks noGrp="1"/>
          </p:cNvSpPr>
          <p:nvPr>
            <p:ph type="sldNum" sz="quarter" idx="4"/>
          </p:nvPr>
        </p:nvSpPr>
        <p:spPr/>
        <p:txBody>
          <a:bodyPr/>
          <a:lstStyle/>
          <a:p>
            <a:fld id="{0E0C512C-2A69-4D15-9349-877CDA6B8ABD}" type="slidenum">
              <a:rPr lang="en-GB" smtClean="0"/>
              <a:pPr/>
              <a:t>19</a:t>
            </a:fld>
            <a:endParaRPr lang="en-GB" dirty="0"/>
          </a:p>
        </p:txBody>
      </p:sp>
      <p:graphicFrame>
        <p:nvGraphicFramePr>
          <p:cNvPr id="4" name="Diagram 3"/>
          <p:cNvGraphicFramePr/>
          <p:nvPr>
            <p:extLst>
              <p:ext uri="{D42A27DB-BD31-4B8C-83A1-F6EECF244321}">
                <p14:modId xmlns:p14="http://schemas.microsoft.com/office/powerpoint/2010/main" val="2803102761"/>
              </p:ext>
            </p:extLst>
          </p:nvPr>
        </p:nvGraphicFramePr>
        <p:xfrm>
          <a:off x="514350" y="1350169"/>
          <a:ext cx="77724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7484" y="1286891"/>
            <a:ext cx="841832" cy="841832"/>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7577" y="1350169"/>
            <a:ext cx="769011" cy="769011"/>
          </a:xfrm>
          <a:prstGeom prst="rect">
            <a:avLst/>
          </a:prstGeom>
        </p:spPr>
      </p:pic>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30976" y="1278463"/>
            <a:ext cx="840717" cy="840717"/>
          </a:xfrm>
          <a:prstGeom prst="rect">
            <a:avLst/>
          </a:prstGeom>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21676" y="1343185"/>
            <a:ext cx="775995" cy="775995"/>
          </a:xfrm>
          <a:prstGeom prst="rect">
            <a:avLst/>
          </a:prstGeom>
        </p:spPr>
      </p:pic>
    </p:spTree>
    <p:extLst>
      <p:ext uri="{BB962C8B-B14F-4D97-AF65-F5344CB8AC3E}">
        <p14:creationId xmlns:p14="http://schemas.microsoft.com/office/powerpoint/2010/main" val="1769650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570" y="205451"/>
            <a:ext cx="8229601" cy="701278"/>
          </a:xfrm>
        </p:spPr>
        <p:txBody>
          <a:bodyPr/>
          <a:lstStyle/>
          <a:p>
            <a:r>
              <a:rPr lang="en-US" dirty="0"/>
              <a:t>Agenda</a:t>
            </a:r>
          </a:p>
        </p:txBody>
      </p:sp>
      <p:sp>
        <p:nvSpPr>
          <p:cNvPr id="3" name="Slide Number Placeholder 2"/>
          <p:cNvSpPr>
            <a:spLocks noGrp="1"/>
          </p:cNvSpPr>
          <p:nvPr>
            <p:ph type="sldNum" sz="quarter" idx="4"/>
          </p:nvPr>
        </p:nvSpPr>
        <p:spPr/>
        <p:txBody>
          <a:bodyPr/>
          <a:lstStyle/>
          <a:p>
            <a:fld id="{0E0C512C-2A69-4D15-9349-877CDA6B8ABD}" type="slidenum">
              <a:rPr lang="en-GB" smtClean="0"/>
              <a:pPr/>
              <a:t>2</a:t>
            </a:fld>
            <a:endParaRPr lang="en-GB" dirty="0"/>
          </a:p>
        </p:txBody>
      </p:sp>
      <p:sp>
        <p:nvSpPr>
          <p:cNvPr id="4" name="TextBox 3"/>
          <p:cNvSpPr txBox="1"/>
          <p:nvPr/>
        </p:nvSpPr>
        <p:spPr>
          <a:xfrm>
            <a:off x="1306834" y="949932"/>
            <a:ext cx="7228489" cy="3416320"/>
          </a:xfrm>
          <a:prstGeom prst="rect">
            <a:avLst/>
          </a:prstGeom>
          <a:noFill/>
        </p:spPr>
        <p:txBody>
          <a:bodyPr wrap="square" rtlCol="0">
            <a:spAutoFit/>
          </a:bodyPr>
          <a:lstStyle/>
          <a:p>
            <a:r>
              <a:rPr lang="en-US" sz="2400" dirty="0">
                <a:latin typeface="Arial" panose="020B0604020202020204" pitchFamily="34" charset="0"/>
                <a:cs typeface="Arial" panose="020B0604020202020204" pitchFamily="34" charset="0"/>
              </a:rPr>
              <a:t>Background/history</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Why information security has c-level attention</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The importance of collaboration</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Policies, processes, and controls</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Conclusion</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3887" y="926942"/>
            <a:ext cx="496260" cy="496260"/>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3887" y="1628220"/>
            <a:ext cx="484633" cy="484633"/>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9705" y="2415775"/>
            <a:ext cx="484633" cy="484633"/>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4485" y="3184983"/>
            <a:ext cx="484633" cy="484633"/>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9705" y="3892981"/>
            <a:ext cx="463364" cy="463364"/>
          </a:xfrm>
          <a:prstGeom prst="rect">
            <a:avLst/>
          </a:prstGeom>
        </p:spPr>
      </p:pic>
    </p:spTree>
    <p:extLst>
      <p:ext uri="{BB962C8B-B14F-4D97-AF65-F5344CB8AC3E}">
        <p14:creationId xmlns:p14="http://schemas.microsoft.com/office/powerpoint/2010/main" val="33688793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ation approach</a:t>
            </a:r>
          </a:p>
        </p:txBody>
      </p:sp>
      <p:sp>
        <p:nvSpPr>
          <p:cNvPr id="3" name="Slide Number Placeholder 2"/>
          <p:cNvSpPr>
            <a:spLocks noGrp="1"/>
          </p:cNvSpPr>
          <p:nvPr>
            <p:ph type="sldNum" sz="quarter" idx="4"/>
          </p:nvPr>
        </p:nvSpPr>
        <p:spPr/>
        <p:txBody>
          <a:bodyPr/>
          <a:lstStyle/>
          <a:p>
            <a:fld id="{0E0C512C-2A69-4D15-9349-877CDA6B8ABD}" type="slidenum">
              <a:rPr lang="en-GB" smtClean="0"/>
              <a:pPr/>
              <a:t>20</a:t>
            </a:fld>
            <a:endParaRPr lang="en-GB" dirty="0"/>
          </a:p>
        </p:txBody>
      </p:sp>
      <p:sp>
        <p:nvSpPr>
          <p:cNvPr id="4" name="Content Placeholder 2"/>
          <p:cNvSpPr txBox="1">
            <a:spLocks/>
          </p:cNvSpPr>
          <p:nvPr/>
        </p:nvSpPr>
        <p:spPr bwMode="auto">
          <a:xfrm>
            <a:off x="360364" y="1257300"/>
            <a:ext cx="8245079" cy="31480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sz="1800">
                <a:solidFill>
                  <a:schemeClr val="tx1">
                    <a:lumMod val="65000"/>
                    <a:lumOff val="35000"/>
                  </a:schemeClr>
                </a:solidFill>
                <a:latin typeface="+mn-lt"/>
                <a:ea typeface="+mn-ea"/>
                <a:cs typeface="+mn-cs"/>
              </a:defRPr>
            </a:lvl1pPr>
            <a:lvl2pPr marL="742950" indent="-285750" algn="l" rtl="0" eaLnBrk="1" fontAlgn="base" hangingPunct="1">
              <a:spcBef>
                <a:spcPct val="20000"/>
              </a:spcBef>
              <a:spcAft>
                <a:spcPct val="0"/>
              </a:spcAft>
              <a:buFont typeface="Arial"/>
              <a:buChar char="•"/>
              <a:defRPr sz="1800">
                <a:solidFill>
                  <a:schemeClr val="tx1">
                    <a:lumMod val="65000"/>
                    <a:lumOff val="35000"/>
                  </a:schemeClr>
                </a:solidFill>
                <a:latin typeface="+mn-lt"/>
              </a:defRPr>
            </a:lvl2pPr>
            <a:lvl3pPr marL="1200150" indent="-285750" algn="l" rtl="0" eaLnBrk="1" fontAlgn="base" hangingPunct="1">
              <a:spcBef>
                <a:spcPct val="20000"/>
              </a:spcBef>
              <a:spcAft>
                <a:spcPct val="0"/>
              </a:spcAft>
              <a:buFont typeface="Arial"/>
              <a:buChar char="•"/>
              <a:defRPr sz="1800">
                <a:solidFill>
                  <a:schemeClr val="tx1">
                    <a:lumMod val="65000"/>
                    <a:lumOff val="35000"/>
                  </a:schemeClr>
                </a:solidFill>
                <a:latin typeface="+mn-lt"/>
              </a:defRPr>
            </a:lvl3pPr>
            <a:lvl4pPr marL="1657350" indent="-285750" algn="l" rtl="0" eaLnBrk="1" fontAlgn="base" hangingPunct="1">
              <a:spcBef>
                <a:spcPct val="20000"/>
              </a:spcBef>
              <a:spcAft>
                <a:spcPct val="0"/>
              </a:spcAft>
              <a:buFont typeface="Arial"/>
              <a:buChar char="•"/>
              <a:defRPr sz="1800">
                <a:solidFill>
                  <a:schemeClr val="tx1">
                    <a:lumMod val="65000"/>
                    <a:lumOff val="35000"/>
                  </a:schemeClr>
                </a:solidFill>
                <a:latin typeface="+mn-lt"/>
              </a:defRPr>
            </a:lvl4pPr>
            <a:lvl5pPr marL="2114550" indent="-285750" algn="l" rtl="0" eaLnBrk="1" fontAlgn="base" hangingPunct="1">
              <a:spcBef>
                <a:spcPct val="20000"/>
              </a:spcBef>
              <a:spcAft>
                <a:spcPct val="0"/>
              </a:spcAft>
              <a:buFont typeface="Arial"/>
              <a:buChar char="•"/>
              <a:defRPr sz="1800">
                <a:solidFill>
                  <a:schemeClr val="tx1">
                    <a:lumMod val="65000"/>
                    <a:lumOff val="35000"/>
                  </a:schemeClr>
                </a:solidFill>
                <a:latin typeface="+mn-lt"/>
              </a:defRPr>
            </a:lvl5pPr>
            <a:lvl6pPr marL="2514600" indent="-228600" algn="l" rtl="0" eaLnBrk="1" fontAlgn="base" hangingPunct="1">
              <a:spcBef>
                <a:spcPct val="20000"/>
              </a:spcBef>
              <a:spcAft>
                <a:spcPct val="0"/>
              </a:spcAft>
              <a:buChar char="»"/>
              <a:defRPr sz="2800">
                <a:solidFill>
                  <a:schemeClr val="tx1"/>
                </a:solidFill>
                <a:latin typeface="+mn-lt"/>
              </a:defRPr>
            </a:lvl6pPr>
            <a:lvl7pPr marL="2971800" indent="-228600" algn="l" rtl="0" eaLnBrk="1" fontAlgn="base" hangingPunct="1">
              <a:spcBef>
                <a:spcPct val="20000"/>
              </a:spcBef>
              <a:spcAft>
                <a:spcPct val="0"/>
              </a:spcAft>
              <a:buChar char="»"/>
              <a:defRPr sz="2800">
                <a:solidFill>
                  <a:schemeClr val="tx1"/>
                </a:solidFill>
                <a:latin typeface="+mn-lt"/>
              </a:defRPr>
            </a:lvl7pPr>
            <a:lvl8pPr marL="3429000" indent="-228600" algn="l" rtl="0" eaLnBrk="1" fontAlgn="base" hangingPunct="1">
              <a:spcBef>
                <a:spcPct val="20000"/>
              </a:spcBef>
              <a:spcAft>
                <a:spcPct val="0"/>
              </a:spcAft>
              <a:buChar char="»"/>
              <a:defRPr sz="2800">
                <a:solidFill>
                  <a:schemeClr val="tx1"/>
                </a:solidFill>
                <a:latin typeface="+mn-lt"/>
              </a:defRPr>
            </a:lvl8pPr>
            <a:lvl9pPr marL="3886200" indent="-228600" algn="l" rtl="0" eaLnBrk="1" fontAlgn="base" hangingPunct="1">
              <a:spcBef>
                <a:spcPct val="20000"/>
              </a:spcBef>
              <a:spcAft>
                <a:spcPct val="0"/>
              </a:spcAft>
              <a:buChar char="»"/>
              <a:defRPr sz="2800">
                <a:solidFill>
                  <a:schemeClr val="tx1"/>
                </a:solidFill>
                <a:latin typeface="+mn-lt"/>
              </a:defRPr>
            </a:lvl9pPr>
          </a:lstStyle>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solidFill>
                <a:effectLst/>
                <a:uLnTx/>
                <a:uFillTx/>
                <a:latin typeface="Arial"/>
                <a:ea typeface="+mn-ea"/>
                <a:cs typeface="+mn-cs"/>
              </a:rPr>
              <a:t>Policy is issued on a </a:t>
            </a:r>
            <a:r>
              <a:rPr kumimoji="0" lang="en-US" sz="2400" b="1" i="0" u="none" strike="noStrike" kern="0" cap="none" spc="0" normalizeH="0" baseline="0" noProof="0" dirty="0">
                <a:ln>
                  <a:noFill/>
                </a:ln>
                <a:solidFill>
                  <a:srgbClr val="4F2D7F"/>
                </a:solidFill>
                <a:effectLst/>
                <a:uLnTx/>
                <a:uFillTx/>
                <a:latin typeface="Arial"/>
                <a:ea typeface="+mn-ea"/>
                <a:cs typeface="+mn-cs"/>
              </a:rPr>
              <a:t>go-forward basis</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solidFill>
                <a:effectLst/>
                <a:uLnTx/>
                <a:uFillTx/>
                <a:latin typeface="Arial"/>
                <a:ea typeface="+mn-ea"/>
                <a:cs typeface="+mn-cs"/>
              </a:rPr>
              <a:t>Enlist</a:t>
            </a:r>
            <a:r>
              <a:rPr kumimoji="0" lang="en-US" sz="2400" b="0" i="0" u="none" strike="noStrike" kern="0" cap="none" spc="0" normalizeH="0" baseline="0" noProof="0" dirty="0">
                <a:ln>
                  <a:noFill/>
                </a:ln>
                <a:solidFill>
                  <a:srgbClr val="000000">
                    <a:lumMod val="65000"/>
                    <a:lumOff val="35000"/>
                  </a:srgbClr>
                </a:solidFill>
                <a:effectLst/>
                <a:uLnTx/>
                <a:uFillTx/>
                <a:latin typeface="Arial"/>
                <a:ea typeface="+mn-ea"/>
                <a:cs typeface="+mn-cs"/>
              </a:rPr>
              <a:t> </a:t>
            </a:r>
            <a:r>
              <a:rPr kumimoji="0" lang="en-US" sz="2400" b="1" i="0" u="none" strike="noStrike" kern="0" cap="none" spc="0" normalizeH="0" baseline="0" noProof="0" dirty="0">
                <a:ln>
                  <a:noFill/>
                </a:ln>
                <a:solidFill>
                  <a:srgbClr val="4F2D7F"/>
                </a:solidFill>
                <a:effectLst/>
                <a:uLnTx/>
                <a:uFillTx/>
                <a:latin typeface="Arial"/>
                <a:ea typeface="+mn-ea"/>
                <a:cs typeface="+mn-cs"/>
              </a:rPr>
              <a:t>support from key leaders </a:t>
            </a:r>
            <a:r>
              <a:rPr kumimoji="0" lang="en-US" sz="2400" b="0" i="0" u="none" strike="noStrike" kern="0" cap="none" spc="0" normalizeH="0" baseline="0" noProof="0" dirty="0">
                <a:ln>
                  <a:noFill/>
                </a:ln>
                <a:solidFill>
                  <a:schemeClr val="tx1"/>
                </a:solidFill>
                <a:effectLst/>
                <a:uLnTx/>
                <a:uFillTx/>
                <a:latin typeface="Arial"/>
                <a:ea typeface="+mn-ea"/>
                <a:cs typeface="+mn-cs"/>
              </a:rPr>
              <a:t>to demonstrate expected behavior</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solidFill>
                <a:effectLst/>
                <a:uLnTx/>
                <a:uFillTx/>
                <a:latin typeface="Arial"/>
                <a:ea typeface="+mn-ea"/>
                <a:cs typeface="+mn-cs"/>
              </a:rPr>
              <a:t>Integrate</a:t>
            </a:r>
            <a:r>
              <a:rPr kumimoji="0" lang="en-US" sz="2400" b="0" i="0" u="none" strike="noStrike" kern="0" cap="none" spc="0" normalizeH="0" baseline="0" noProof="0" dirty="0">
                <a:ln>
                  <a:noFill/>
                </a:ln>
                <a:solidFill>
                  <a:srgbClr val="000000">
                    <a:lumMod val="65000"/>
                    <a:lumOff val="35000"/>
                  </a:srgbClr>
                </a:solidFill>
                <a:effectLst/>
                <a:uLnTx/>
                <a:uFillTx/>
                <a:latin typeface="Arial"/>
                <a:ea typeface="+mn-ea"/>
                <a:cs typeface="+mn-cs"/>
              </a:rPr>
              <a:t> </a:t>
            </a:r>
            <a:r>
              <a:rPr kumimoji="0" lang="en-US" sz="2400" b="1" i="0" u="none" strike="noStrike" kern="0" cap="none" spc="0" normalizeH="0" baseline="0" noProof="0" dirty="0">
                <a:ln>
                  <a:noFill/>
                </a:ln>
                <a:solidFill>
                  <a:srgbClr val="4F2D7F"/>
                </a:solidFill>
                <a:effectLst/>
                <a:uLnTx/>
                <a:uFillTx/>
                <a:latin typeface="Arial"/>
                <a:ea typeface="+mn-ea"/>
                <a:cs typeface="+mn-cs"/>
              </a:rPr>
              <a:t>data protection controls </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2400" b="1" i="0" u="none" strike="noStrike" kern="0" cap="none" spc="0" normalizeH="0" baseline="0" noProof="0" dirty="0">
                <a:ln>
                  <a:noFill/>
                </a:ln>
                <a:solidFill>
                  <a:srgbClr val="4F2D7F"/>
                </a:solidFill>
                <a:effectLst/>
                <a:uLnTx/>
                <a:uFillTx/>
                <a:latin typeface="Arial"/>
                <a:ea typeface="+mn-ea"/>
                <a:cs typeface="+mn-cs"/>
              </a:rPr>
              <a:t>Build awareness </a:t>
            </a:r>
            <a:r>
              <a:rPr kumimoji="0" lang="en-US" sz="2400" b="0" i="0" u="none" strike="noStrike" kern="0" cap="none" spc="0" normalizeH="0" baseline="0" noProof="0" dirty="0">
                <a:ln>
                  <a:noFill/>
                </a:ln>
                <a:solidFill>
                  <a:schemeClr val="tx1"/>
                </a:solidFill>
                <a:effectLst/>
                <a:uLnTx/>
                <a:uFillTx/>
                <a:latin typeface="Arial"/>
                <a:ea typeface="+mn-ea"/>
                <a:cs typeface="+mn-cs"/>
              </a:rPr>
              <a:t>through communications and training campaigns</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000000">
                  <a:lumMod val="65000"/>
                  <a:lumOff val="35000"/>
                </a:srgbClr>
              </a:solidFill>
              <a:effectLst/>
              <a:uLnTx/>
              <a:uFillTx/>
              <a:latin typeface="Arial"/>
              <a:ea typeface="+mn-ea"/>
              <a:cs typeface="+mn-cs"/>
            </a:endParaRPr>
          </a:p>
        </p:txBody>
      </p:sp>
    </p:spTree>
    <p:extLst>
      <p:ext uri="{BB962C8B-B14F-4D97-AF65-F5344CB8AC3E}">
        <p14:creationId xmlns:p14="http://schemas.microsoft.com/office/powerpoint/2010/main" val="7182555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4"/>
          </p:nvPr>
        </p:nvSpPr>
        <p:spPr/>
        <p:txBody>
          <a:bodyPr/>
          <a:lstStyle/>
          <a:p>
            <a:fld id="{0E0C512C-2A69-4D15-9349-877CDA6B8ABD}" type="slidenum">
              <a:rPr lang="en-GB" smtClean="0"/>
              <a:pPr/>
              <a:t>21</a:t>
            </a:fld>
            <a:endParaRPr lang="en-GB" dirty="0"/>
          </a:p>
        </p:txBody>
      </p:sp>
      <p:sp>
        <p:nvSpPr>
          <p:cNvPr id="5" name="Title 1"/>
          <p:cNvSpPr txBox="1">
            <a:spLocks/>
          </p:cNvSpPr>
          <p:nvPr/>
        </p:nvSpPr>
        <p:spPr bwMode="auto">
          <a:xfrm>
            <a:off x="360364" y="251329"/>
            <a:ext cx="8423275" cy="701278"/>
          </a:xfrm>
          <a:prstGeom prst="rect">
            <a:avLst/>
          </a:prstGeom>
          <a:solidFill>
            <a:schemeClr val="bg1"/>
          </a:solidFill>
          <a:ln w="9525">
            <a:solidFill>
              <a:schemeClr val="bg1"/>
            </a:solid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5000"/>
              </a:lnSpc>
              <a:spcBef>
                <a:spcPct val="0"/>
              </a:spcBef>
              <a:spcAft>
                <a:spcPct val="0"/>
              </a:spcAft>
              <a:defRPr sz="3600" b="1" i="0">
                <a:solidFill>
                  <a:srgbClr val="4F2D7F"/>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spcBef>
                <a:spcPct val="0"/>
              </a:spcBef>
              <a:spcAft>
                <a:spcPct val="0"/>
              </a:spcAft>
              <a:defRPr sz="2800">
                <a:solidFill>
                  <a:schemeClr val="tx2"/>
                </a:solidFill>
                <a:latin typeface="Arial" charset="0"/>
              </a:defRPr>
            </a:lvl2pPr>
            <a:lvl3pPr algn="l" rtl="0" eaLnBrk="1" fontAlgn="base" hangingPunct="1">
              <a:spcBef>
                <a:spcPct val="0"/>
              </a:spcBef>
              <a:spcAft>
                <a:spcPct val="0"/>
              </a:spcAft>
              <a:defRPr sz="2800">
                <a:solidFill>
                  <a:schemeClr val="tx2"/>
                </a:solidFill>
                <a:latin typeface="Arial" charset="0"/>
              </a:defRPr>
            </a:lvl3pPr>
            <a:lvl4pPr algn="l" rtl="0" eaLnBrk="1" fontAlgn="base" hangingPunct="1">
              <a:spcBef>
                <a:spcPct val="0"/>
              </a:spcBef>
              <a:spcAft>
                <a:spcPct val="0"/>
              </a:spcAft>
              <a:defRPr sz="2800">
                <a:solidFill>
                  <a:schemeClr val="tx2"/>
                </a:solidFill>
                <a:latin typeface="Arial" charset="0"/>
              </a:defRPr>
            </a:lvl4pPr>
            <a:lvl5pPr algn="l" rtl="0" eaLnBrk="1" fontAlgn="base" hangingPunct="1">
              <a:spcBef>
                <a:spcPct val="0"/>
              </a:spcBef>
              <a:spcAft>
                <a:spcPct val="0"/>
              </a:spcAft>
              <a:defRPr sz="2800">
                <a:solidFill>
                  <a:schemeClr val="tx2"/>
                </a:solidFill>
                <a:latin typeface="Arial" charset="0"/>
              </a:defRPr>
            </a:lvl5pPr>
            <a:lvl6pPr marL="457200" algn="l" rtl="0" eaLnBrk="1" fontAlgn="base" hangingPunct="1">
              <a:spcBef>
                <a:spcPct val="0"/>
              </a:spcBef>
              <a:spcAft>
                <a:spcPct val="0"/>
              </a:spcAft>
              <a:defRPr sz="2800">
                <a:solidFill>
                  <a:schemeClr val="tx2"/>
                </a:solidFill>
                <a:latin typeface="Arial" charset="0"/>
              </a:defRPr>
            </a:lvl6pPr>
            <a:lvl7pPr marL="914400" algn="l" rtl="0" eaLnBrk="1" fontAlgn="base" hangingPunct="1">
              <a:spcBef>
                <a:spcPct val="0"/>
              </a:spcBef>
              <a:spcAft>
                <a:spcPct val="0"/>
              </a:spcAft>
              <a:defRPr sz="2800">
                <a:solidFill>
                  <a:schemeClr val="tx2"/>
                </a:solidFill>
                <a:latin typeface="Arial" charset="0"/>
              </a:defRPr>
            </a:lvl7pPr>
            <a:lvl8pPr marL="1371600" algn="l" rtl="0" eaLnBrk="1" fontAlgn="base" hangingPunct="1">
              <a:spcBef>
                <a:spcPct val="0"/>
              </a:spcBef>
              <a:spcAft>
                <a:spcPct val="0"/>
              </a:spcAft>
              <a:defRPr sz="2800">
                <a:solidFill>
                  <a:schemeClr val="tx2"/>
                </a:solidFill>
                <a:latin typeface="Arial" charset="0"/>
              </a:defRPr>
            </a:lvl8pPr>
            <a:lvl9pPr marL="1828800" algn="l" rtl="0" eaLnBrk="1" fontAlgn="base" hangingPunct="1">
              <a:spcBef>
                <a:spcPct val="0"/>
              </a:spcBef>
              <a:spcAft>
                <a:spcPct val="0"/>
              </a:spcAft>
              <a:defRPr sz="2800">
                <a:solidFill>
                  <a:schemeClr val="tx2"/>
                </a:solidFill>
                <a:latin typeface="Arial" charset="0"/>
              </a:defRPr>
            </a:lvl9pPr>
          </a:lstStyle>
          <a:p>
            <a:r>
              <a:rPr lang="en-US" kern="0" dirty="0"/>
              <a:t>Data loss prevention (DLP) strategy</a:t>
            </a:r>
          </a:p>
        </p:txBody>
      </p:sp>
      <p:sp>
        <p:nvSpPr>
          <p:cNvPr id="6" name="Rectangle 5"/>
          <p:cNvSpPr/>
          <p:nvPr/>
        </p:nvSpPr>
        <p:spPr>
          <a:xfrm>
            <a:off x="459378" y="2440159"/>
            <a:ext cx="2520000" cy="346249"/>
          </a:xfrm>
          <a:prstGeom prst="rect">
            <a:avLst/>
          </a:prstGeom>
          <a:solidFill>
            <a:schemeClr val="bg1"/>
          </a:solidFill>
          <a:ln>
            <a:solidFill>
              <a:schemeClr val="bg1"/>
            </a:solidFill>
          </a:ln>
        </p:spPr>
        <p:txBody>
          <a:bodyPr wrap="square">
            <a:spAutoFit/>
          </a:bodyPr>
          <a:lstStyle/>
          <a:p>
            <a:pPr algn="ctr">
              <a:lnSpc>
                <a:spcPct val="150000"/>
              </a:lnSpc>
            </a:pPr>
            <a:r>
              <a:rPr lang="en-US" sz="1100" b="1" dirty="0"/>
              <a:t>Quick Wins</a:t>
            </a:r>
          </a:p>
        </p:txBody>
      </p:sp>
      <p:sp>
        <p:nvSpPr>
          <p:cNvPr id="7" name="Freeform 5"/>
          <p:cNvSpPr>
            <a:spLocks noEditPoints="1"/>
          </p:cNvSpPr>
          <p:nvPr/>
        </p:nvSpPr>
        <p:spPr bwMode="auto">
          <a:xfrm>
            <a:off x="4470216" y="1259581"/>
            <a:ext cx="300586" cy="375246"/>
          </a:xfrm>
          <a:custGeom>
            <a:avLst/>
            <a:gdLst>
              <a:gd name="T0" fmla="*/ 29 w 59"/>
              <a:gd name="T1" fmla="*/ 85 h 85"/>
              <a:gd name="T2" fmla="*/ 59 w 59"/>
              <a:gd name="T3" fmla="*/ 30 h 85"/>
              <a:gd name="T4" fmla="*/ 29 w 59"/>
              <a:gd name="T5" fmla="*/ 0 h 85"/>
              <a:gd name="T6" fmla="*/ 0 w 59"/>
              <a:gd name="T7" fmla="*/ 30 h 85"/>
              <a:gd name="T8" fmla="*/ 11 w 59"/>
              <a:gd name="T9" fmla="*/ 63 h 85"/>
              <a:gd name="T10" fmla="*/ 29 w 59"/>
              <a:gd name="T11" fmla="*/ 85 h 85"/>
              <a:gd name="T12" fmla="*/ 29 w 59"/>
              <a:gd name="T13" fmla="*/ 8 h 85"/>
              <a:gd name="T14" fmla="*/ 51 w 59"/>
              <a:gd name="T15" fmla="*/ 30 h 85"/>
              <a:gd name="T16" fmla="*/ 29 w 59"/>
              <a:gd name="T17" fmla="*/ 77 h 85"/>
              <a:gd name="T18" fmla="*/ 8 w 59"/>
              <a:gd name="T19" fmla="*/ 30 h 85"/>
              <a:gd name="T20" fmla="*/ 29 w 59"/>
              <a:gd name="T21"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5">
                <a:moveTo>
                  <a:pt x="29" y="85"/>
                </a:moveTo>
                <a:cubicBezTo>
                  <a:pt x="40" y="85"/>
                  <a:pt x="59" y="44"/>
                  <a:pt x="59" y="30"/>
                </a:cubicBezTo>
                <a:cubicBezTo>
                  <a:pt x="59" y="13"/>
                  <a:pt x="46" y="0"/>
                  <a:pt x="29" y="0"/>
                </a:cubicBezTo>
                <a:cubicBezTo>
                  <a:pt x="13" y="0"/>
                  <a:pt x="0" y="13"/>
                  <a:pt x="0" y="30"/>
                </a:cubicBezTo>
                <a:cubicBezTo>
                  <a:pt x="0" y="41"/>
                  <a:pt x="8" y="58"/>
                  <a:pt x="11" y="63"/>
                </a:cubicBezTo>
                <a:cubicBezTo>
                  <a:pt x="18" y="78"/>
                  <a:pt x="24" y="85"/>
                  <a:pt x="29" y="85"/>
                </a:cubicBezTo>
                <a:close/>
                <a:moveTo>
                  <a:pt x="29" y="8"/>
                </a:moveTo>
                <a:cubicBezTo>
                  <a:pt x="41" y="8"/>
                  <a:pt x="51" y="18"/>
                  <a:pt x="51" y="30"/>
                </a:cubicBezTo>
                <a:cubicBezTo>
                  <a:pt x="51" y="44"/>
                  <a:pt x="35" y="73"/>
                  <a:pt x="29" y="77"/>
                </a:cubicBezTo>
                <a:cubicBezTo>
                  <a:pt x="24" y="73"/>
                  <a:pt x="8" y="44"/>
                  <a:pt x="8" y="30"/>
                </a:cubicBezTo>
                <a:cubicBezTo>
                  <a:pt x="8" y="18"/>
                  <a:pt x="18" y="8"/>
                  <a:pt x="29" y="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id-ID" dirty="0"/>
          </a:p>
        </p:txBody>
      </p:sp>
      <p:cxnSp>
        <p:nvCxnSpPr>
          <p:cNvPr id="8" name="Straight Connector 7"/>
          <p:cNvCxnSpPr/>
          <p:nvPr/>
        </p:nvCxnSpPr>
        <p:spPr>
          <a:xfrm>
            <a:off x="2322000" y="807023"/>
            <a:ext cx="450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995681" y="1400527"/>
            <a:ext cx="1889879" cy="2639332"/>
            <a:chOff x="996011" y="1385913"/>
            <a:chExt cx="1889879" cy="2188632"/>
          </a:xfrm>
          <a:solidFill>
            <a:schemeClr val="tx1"/>
          </a:solidFill>
        </p:grpSpPr>
        <p:sp>
          <p:nvSpPr>
            <p:cNvPr id="10" name="TextBox 9"/>
            <p:cNvSpPr txBox="1"/>
            <p:nvPr/>
          </p:nvSpPr>
          <p:spPr>
            <a:xfrm>
              <a:off x="1418594" y="2050948"/>
              <a:ext cx="561372" cy="276999"/>
            </a:xfrm>
            <a:prstGeom prst="rect">
              <a:avLst/>
            </a:prstGeom>
            <a:solidFill>
              <a:schemeClr val="bg1"/>
            </a:solidFill>
          </p:spPr>
          <p:txBody>
            <a:bodyPr wrap="none" rtlCol="0">
              <a:spAutoFit/>
            </a:bodyPr>
            <a:lstStyle/>
            <a:p>
              <a:pPr algn="ctr"/>
              <a:r>
                <a:rPr lang="en-US" sz="1200" b="1" dirty="0">
                  <a:ea typeface="Arial" charset="0"/>
                  <a:cs typeface="Arial" charset="0"/>
                </a:rPr>
                <a:t>NOW</a:t>
              </a:r>
              <a:endParaRPr lang="id-ID" sz="1200" b="1" dirty="0">
                <a:ea typeface="Arial" charset="0"/>
                <a:cs typeface="Arial" charset="0"/>
              </a:endParaRPr>
            </a:p>
          </p:txBody>
        </p:sp>
        <p:cxnSp>
          <p:nvCxnSpPr>
            <p:cNvPr id="11" name="Straight Connector 10"/>
            <p:cNvCxnSpPr/>
            <p:nvPr/>
          </p:nvCxnSpPr>
          <p:spPr>
            <a:xfrm>
              <a:off x="1151338" y="2242946"/>
              <a:ext cx="1080000" cy="0"/>
            </a:xfrm>
            <a:prstGeom prst="line">
              <a:avLst/>
            </a:prstGeom>
            <a:grpFill/>
            <a:ln>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Freeform 11"/>
            <p:cNvSpPr>
              <a:spLocks noEditPoints="1"/>
            </p:cNvSpPr>
            <p:nvPr/>
          </p:nvSpPr>
          <p:spPr bwMode="auto">
            <a:xfrm rot="2700000">
              <a:off x="1622775" y="1183382"/>
              <a:ext cx="414935" cy="819998"/>
            </a:xfrm>
            <a:custGeom>
              <a:avLst/>
              <a:gdLst>
                <a:gd name="T0" fmla="*/ 482 w 579"/>
                <a:gd name="T1" fmla="*/ 367 h 1073"/>
                <a:gd name="T2" fmla="*/ 482 w 579"/>
                <a:gd name="T3" fmla="*/ 148 h 1073"/>
                <a:gd name="T4" fmla="*/ 525 w 579"/>
                <a:gd name="T5" fmla="*/ 79 h 1073"/>
                <a:gd name="T6" fmla="*/ 447 w 579"/>
                <a:gd name="T7" fmla="*/ 0 h 1073"/>
                <a:gd name="T8" fmla="*/ 132 w 579"/>
                <a:gd name="T9" fmla="*/ 0 h 1073"/>
                <a:gd name="T10" fmla="*/ 54 w 579"/>
                <a:gd name="T11" fmla="*/ 79 h 1073"/>
                <a:gd name="T12" fmla="*/ 96 w 579"/>
                <a:gd name="T13" fmla="*/ 148 h 1073"/>
                <a:gd name="T14" fmla="*/ 96 w 579"/>
                <a:gd name="T15" fmla="*/ 367 h 1073"/>
                <a:gd name="T16" fmla="*/ 0 w 579"/>
                <a:gd name="T17" fmla="*/ 583 h 1073"/>
                <a:gd name="T18" fmla="*/ 0 w 579"/>
                <a:gd name="T19" fmla="*/ 612 h 1073"/>
                <a:gd name="T20" fmla="*/ 224 w 579"/>
                <a:gd name="T21" fmla="*/ 612 h 1073"/>
                <a:gd name="T22" fmla="*/ 224 w 579"/>
                <a:gd name="T23" fmla="*/ 923 h 1073"/>
                <a:gd name="T24" fmla="*/ 289 w 579"/>
                <a:gd name="T25" fmla="*/ 1073 h 1073"/>
                <a:gd name="T26" fmla="*/ 355 w 579"/>
                <a:gd name="T27" fmla="*/ 923 h 1073"/>
                <a:gd name="T28" fmla="*/ 355 w 579"/>
                <a:gd name="T29" fmla="*/ 612 h 1073"/>
                <a:gd name="T30" fmla="*/ 579 w 579"/>
                <a:gd name="T31" fmla="*/ 612 h 1073"/>
                <a:gd name="T32" fmla="*/ 579 w 579"/>
                <a:gd name="T33" fmla="*/ 583 h 1073"/>
                <a:gd name="T34" fmla="*/ 482 w 579"/>
                <a:gd name="T35" fmla="*/ 367 h 1073"/>
                <a:gd name="T36" fmla="*/ 132 w 579"/>
                <a:gd name="T37" fmla="*/ 58 h 1073"/>
                <a:gd name="T38" fmla="*/ 447 w 579"/>
                <a:gd name="T39" fmla="*/ 58 h 1073"/>
                <a:gd name="T40" fmla="*/ 467 w 579"/>
                <a:gd name="T41" fmla="*/ 79 h 1073"/>
                <a:gd name="T42" fmla="*/ 449 w 579"/>
                <a:gd name="T43" fmla="*/ 99 h 1073"/>
                <a:gd name="T44" fmla="*/ 436 w 579"/>
                <a:gd name="T45" fmla="*/ 101 h 1073"/>
                <a:gd name="T46" fmla="*/ 143 w 579"/>
                <a:gd name="T47" fmla="*/ 101 h 1073"/>
                <a:gd name="T48" fmla="*/ 129 w 579"/>
                <a:gd name="T49" fmla="*/ 99 h 1073"/>
                <a:gd name="T50" fmla="*/ 111 w 579"/>
                <a:gd name="T51" fmla="*/ 79 h 1073"/>
                <a:gd name="T52" fmla="*/ 132 w 579"/>
                <a:gd name="T53" fmla="*/ 58 h 1073"/>
                <a:gd name="T54" fmla="*/ 424 w 579"/>
                <a:gd name="T55" fmla="*/ 370 h 1073"/>
                <a:gd name="T56" fmla="*/ 154 w 579"/>
                <a:gd name="T57" fmla="*/ 370 h 1073"/>
                <a:gd name="T58" fmla="*/ 154 w 579"/>
                <a:gd name="T59" fmla="*/ 130 h 1073"/>
                <a:gd name="T60" fmla="*/ 424 w 579"/>
                <a:gd name="T61" fmla="*/ 130 h 1073"/>
                <a:gd name="T62" fmla="*/ 424 w 579"/>
                <a:gd name="T63" fmla="*/ 370 h 1073"/>
                <a:gd name="T64" fmla="*/ 297 w 579"/>
                <a:gd name="T65" fmla="*/ 911 h 1073"/>
                <a:gd name="T66" fmla="*/ 289 w 579"/>
                <a:gd name="T67" fmla="*/ 928 h 1073"/>
                <a:gd name="T68" fmla="*/ 282 w 579"/>
                <a:gd name="T69" fmla="*/ 911 h 1073"/>
                <a:gd name="T70" fmla="*/ 282 w 579"/>
                <a:gd name="T71" fmla="*/ 612 h 1073"/>
                <a:gd name="T72" fmla="*/ 297 w 579"/>
                <a:gd name="T73" fmla="*/ 612 h 1073"/>
                <a:gd name="T74" fmla="*/ 297 w 579"/>
                <a:gd name="T75" fmla="*/ 911 h 1073"/>
                <a:gd name="T76" fmla="*/ 355 w 579"/>
                <a:gd name="T77" fmla="*/ 554 h 1073"/>
                <a:gd name="T78" fmla="*/ 224 w 579"/>
                <a:gd name="T79" fmla="*/ 554 h 1073"/>
                <a:gd name="T80" fmla="*/ 59 w 579"/>
                <a:gd name="T81" fmla="*/ 554 h 1073"/>
                <a:gd name="T82" fmla="*/ 144 w 579"/>
                <a:gd name="T83" fmla="*/ 403 h 1073"/>
                <a:gd name="T84" fmla="*/ 149 w 579"/>
                <a:gd name="T85" fmla="*/ 399 h 1073"/>
                <a:gd name="T86" fmla="*/ 430 w 579"/>
                <a:gd name="T87" fmla="*/ 399 h 1073"/>
                <a:gd name="T88" fmla="*/ 435 w 579"/>
                <a:gd name="T89" fmla="*/ 403 h 1073"/>
                <a:gd name="T90" fmla="*/ 519 w 579"/>
                <a:gd name="T91" fmla="*/ 554 h 1073"/>
                <a:gd name="T92" fmla="*/ 355 w 579"/>
                <a:gd name="T93" fmla="*/ 55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9" h="1073">
                  <a:moveTo>
                    <a:pt x="482" y="367"/>
                  </a:moveTo>
                  <a:cubicBezTo>
                    <a:pt x="482" y="148"/>
                    <a:pt x="482" y="148"/>
                    <a:pt x="482" y="148"/>
                  </a:cubicBezTo>
                  <a:cubicBezTo>
                    <a:pt x="508" y="135"/>
                    <a:pt x="525" y="109"/>
                    <a:pt x="525" y="79"/>
                  </a:cubicBezTo>
                  <a:cubicBezTo>
                    <a:pt x="525" y="35"/>
                    <a:pt x="490" y="0"/>
                    <a:pt x="447" y="0"/>
                  </a:cubicBezTo>
                  <a:cubicBezTo>
                    <a:pt x="132" y="0"/>
                    <a:pt x="132" y="0"/>
                    <a:pt x="132" y="0"/>
                  </a:cubicBezTo>
                  <a:cubicBezTo>
                    <a:pt x="89" y="0"/>
                    <a:pt x="54" y="35"/>
                    <a:pt x="54" y="79"/>
                  </a:cubicBezTo>
                  <a:cubicBezTo>
                    <a:pt x="54" y="109"/>
                    <a:pt x="71" y="135"/>
                    <a:pt x="96" y="148"/>
                  </a:cubicBezTo>
                  <a:cubicBezTo>
                    <a:pt x="96" y="367"/>
                    <a:pt x="96" y="367"/>
                    <a:pt x="96" y="367"/>
                  </a:cubicBezTo>
                  <a:cubicBezTo>
                    <a:pt x="35" y="422"/>
                    <a:pt x="0" y="500"/>
                    <a:pt x="0" y="583"/>
                  </a:cubicBezTo>
                  <a:cubicBezTo>
                    <a:pt x="0" y="612"/>
                    <a:pt x="0" y="612"/>
                    <a:pt x="0" y="612"/>
                  </a:cubicBezTo>
                  <a:cubicBezTo>
                    <a:pt x="224" y="612"/>
                    <a:pt x="224" y="612"/>
                    <a:pt x="224" y="612"/>
                  </a:cubicBezTo>
                  <a:cubicBezTo>
                    <a:pt x="224" y="923"/>
                    <a:pt x="224" y="923"/>
                    <a:pt x="224" y="923"/>
                  </a:cubicBezTo>
                  <a:cubicBezTo>
                    <a:pt x="289" y="1073"/>
                    <a:pt x="289" y="1073"/>
                    <a:pt x="289" y="1073"/>
                  </a:cubicBezTo>
                  <a:cubicBezTo>
                    <a:pt x="355" y="923"/>
                    <a:pt x="355" y="923"/>
                    <a:pt x="355" y="923"/>
                  </a:cubicBezTo>
                  <a:cubicBezTo>
                    <a:pt x="355" y="612"/>
                    <a:pt x="355" y="612"/>
                    <a:pt x="355" y="612"/>
                  </a:cubicBezTo>
                  <a:cubicBezTo>
                    <a:pt x="579" y="612"/>
                    <a:pt x="579" y="612"/>
                    <a:pt x="579" y="612"/>
                  </a:cubicBezTo>
                  <a:cubicBezTo>
                    <a:pt x="579" y="583"/>
                    <a:pt x="579" y="583"/>
                    <a:pt x="579" y="583"/>
                  </a:cubicBezTo>
                  <a:cubicBezTo>
                    <a:pt x="579" y="500"/>
                    <a:pt x="544" y="422"/>
                    <a:pt x="482" y="367"/>
                  </a:cubicBezTo>
                  <a:close/>
                  <a:moveTo>
                    <a:pt x="132" y="58"/>
                  </a:moveTo>
                  <a:cubicBezTo>
                    <a:pt x="447" y="58"/>
                    <a:pt x="447" y="58"/>
                    <a:pt x="447" y="58"/>
                  </a:cubicBezTo>
                  <a:cubicBezTo>
                    <a:pt x="458" y="58"/>
                    <a:pt x="467" y="67"/>
                    <a:pt x="467" y="79"/>
                  </a:cubicBezTo>
                  <a:cubicBezTo>
                    <a:pt x="467" y="89"/>
                    <a:pt x="459" y="97"/>
                    <a:pt x="449" y="99"/>
                  </a:cubicBezTo>
                  <a:cubicBezTo>
                    <a:pt x="436" y="101"/>
                    <a:pt x="436" y="101"/>
                    <a:pt x="436" y="101"/>
                  </a:cubicBezTo>
                  <a:cubicBezTo>
                    <a:pt x="143" y="101"/>
                    <a:pt x="143" y="101"/>
                    <a:pt x="143" y="101"/>
                  </a:cubicBezTo>
                  <a:cubicBezTo>
                    <a:pt x="129" y="99"/>
                    <a:pt x="129" y="99"/>
                    <a:pt x="129" y="99"/>
                  </a:cubicBezTo>
                  <a:cubicBezTo>
                    <a:pt x="119" y="97"/>
                    <a:pt x="111" y="89"/>
                    <a:pt x="111" y="79"/>
                  </a:cubicBezTo>
                  <a:cubicBezTo>
                    <a:pt x="111" y="67"/>
                    <a:pt x="121" y="58"/>
                    <a:pt x="132" y="58"/>
                  </a:cubicBezTo>
                  <a:close/>
                  <a:moveTo>
                    <a:pt x="424" y="370"/>
                  </a:moveTo>
                  <a:cubicBezTo>
                    <a:pt x="154" y="370"/>
                    <a:pt x="154" y="370"/>
                    <a:pt x="154" y="370"/>
                  </a:cubicBezTo>
                  <a:cubicBezTo>
                    <a:pt x="154" y="130"/>
                    <a:pt x="154" y="130"/>
                    <a:pt x="154" y="130"/>
                  </a:cubicBezTo>
                  <a:cubicBezTo>
                    <a:pt x="424" y="130"/>
                    <a:pt x="424" y="130"/>
                    <a:pt x="424" y="130"/>
                  </a:cubicBezTo>
                  <a:lnTo>
                    <a:pt x="424" y="370"/>
                  </a:lnTo>
                  <a:close/>
                  <a:moveTo>
                    <a:pt x="297" y="911"/>
                  </a:moveTo>
                  <a:cubicBezTo>
                    <a:pt x="289" y="928"/>
                    <a:pt x="289" y="928"/>
                    <a:pt x="289" y="928"/>
                  </a:cubicBezTo>
                  <a:cubicBezTo>
                    <a:pt x="282" y="911"/>
                    <a:pt x="282" y="911"/>
                    <a:pt x="282" y="911"/>
                  </a:cubicBezTo>
                  <a:cubicBezTo>
                    <a:pt x="282" y="612"/>
                    <a:pt x="282" y="612"/>
                    <a:pt x="282" y="612"/>
                  </a:cubicBezTo>
                  <a:cubicBezTo>
                    <a:pt x="297" y="612"/>
                    <a:pt x="297" y="612"/>
                    <a:pt x="297" y="612"/>
                  </a:cubicBezTo>
                  <a:lnTo>
                    <a:pt x="297" y="911"/>
                  </a:lnTo>
                  <a:close/>
                  <a:moveTo>
                    <a:pt x="355" y="554"/>
                  </a:moveTo>
                  <a:cubicBezTo>
                    <a:pt x="224" y="554"/>
                    <a:pt x="224" y="554"/>
                    <a:pt x="224" y="554"/>
                  </a:cubicBezTo>
                  <a:cubicBezTo>
                    <a:pt x="59" y="554"/>
                    <a:pt x="59" y="554"/>
                    <a:pt x="59" y="554"/>
                  </a:cubicBezTo>
                  <a:cubicBezTo>
                    <a:pt x="67" y="495"/>
                    <a:pt x="97" y="441"/>
                    <a:pt x="144" y="403"/>
                  </a:cubicBezTo>
                  <a:cubicBezTo>
                    <a:pt x="149" y="399"/>
                    <a:pt x="149" y="399"/>
                    <a:pt x="149" y="399"/>
                  </a:cubicBezTo>
                  <a:cubicBezTo>
                    <a:pt x="430" y="399"/>
                    <a:pt x="430" y="399"/>
                    <a:pt x="430" y="399"/>
                  </a:cubicBezTo>
                  <a:cubicBezTo>
                    <a:pt x="435" y="403"/>
                    <a:pt x="435" y="403"/>
                    <a:pt x="435" y="403"/>
                  </a:cubicBezTo>
                  <a:cubicBezTo>
                    <a:pt x="482" y="441"/>
                    <a:pt x="512" y="495"/>
                    <a:pt x="519" y="554"/>
                  </a:cubicBezTo>
                  <a:lnTo>
                    <a:pt x="355" y="554"/>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id-ID" dirty="0"/>
            </a:p>
          </p:txBody>
        </p:sp>
        <p:sp>
          <p:nvSpPr>
            <p:cNvPr id="13" name="Rechteck 26"/>
            <p:cNvSpPr/>
            <p:nvPr/>
          </p:nvSpPr>
          <p:spPr bwMode="gray">
            <a:xfrm>
              <a:off x="996011" y="2551069"/>
              <a:ext cx="1889879" cy="1023476"/>
            </a:xfrm>
            <a:prstGeom prst="rect">
              <a:avLst/>
            </a:prstGeom>
            <a:solidFill>
              <a:schemeClr val="bg1"/>
            </a:solidFill>
          </p:spPr>
          <p:txBody>
            <a:bodyPr wrap="square" lIns="72000" tIns="0" rIns="180000" bIns="0">
              <a:noAutofit/>
            </a:bodyPr>
            <a:lstStyle/>
            <a:p>
              <a:pPr marL="55563" indent="-55563">
                <a:spcAft>
                  <a:spcPts val="600"/>
                </a:spcAft>
                <a:buClr>
                  <a:schemeClr val="bg1"/>
                </a:buClr>
                <a:buFont typeface="Arial" panose="020B0604020202020204" pitchFamily="34" charset="0"/>
                <a:buChar char="•"/>
              </a:pPr>
              <a:r>
                <a:rPr lang="en-US" sz="900" dirty="0"/>
                <a:t>Meet with teams handling sensitive data</a:t>
              </a:r>
            </a:p>
            <a:p>
              <a:pPr marL="55563" indent="-55563">
                <a:spcAft>
                  <a:spcPts val="600"/>
                </a:spcAft>
                <a:buClr>
                  <a:schemeClr val="bg1"/>
                </a:buClr>
                <a:buFont typeface="Arial" panose="020B0604020202020204" pitchFamily="34" charset="0"/>
                <a:buChar char="•"/>
              </a:pPr>
              <a:r>
                <a:rPr lang="en-US" sz="900" dirty="0"/>
                <a:t>Collaborate with </a:t>
              </a:r>
              <a:r>
                <a:rPr lang="en-US" sz="900" dirty="0" smtClean="0"/>
                <a:t>Legal, HR, </a:t>
              </a:r>
              <a:r>
                <a:rPr lang="en-US" sz="900" dirty="0"/>
                <a:t>and Information Governance</a:t>
              </a:r>
            </a:p>
            <a:p>
              <a:pPr marL="55563" indent="-55563">
                <a:spcAft>
                  <a:spcPts val="600"/>
                </a:spcAft>
                <a:buClr>
                  <a:schemeClr val="bg1"/>
                </a:buClr>
                <a:buFont typeface="Arial" panose="020B0604020202020204" pitchFamily="34" charset="0"/>
                <a:buChar char="•"/>
              </a:pPr>
              <a:r>
                <a:rPr lang="en-US" sz="900" dirty="0"/>
                <a:t>Implement DLP </a:t>
              </a:r>
              <a:r>
                <a:rPr lang="en-US" sz="900" dirty="0" smtClean="0"/>
                <a:t>monitoring </a:t>
              </a:r>
              <a:r>
                <a:rPr lang="en-US" sz="900" dirty="0"/>
                <a:t>p</a:t>
              </a:r>
              <a:r>
                <a:rPr lang="en-US" sz="900" dirty="0" smtClean="0"/>
                <a:t>olicies</a:t>
              </a:r>
              <a:endParaRPr lang="en-US" sz="900" dirty="0"/>
            </a:p>
            <a:p>
              <a:pPr marL="55563" indent="-55563">
                <a:spcAft>
                  <a:spcPts val="600"/>
                </a:spcAft>
                <a:buClr>
                  <a:schemeClr val="bg1"/>
                </a:buClr>
                <a:buFont typeface="Arial" panose="020B0604020202020204" pitchFamily="34" charset="0"/>
                <a:buChar char="•"/>
              </a:pPr>
              <a:r>
                <a:rPr lang="en-US" sz="900" dirty="0"/>
                <a:t>Pilot PII </a:t>
              </a:r>
              <a:r>
                <a:rPr lang="en-US" sz="900" dirty="0" smtClean="0"/>
                <a:t>discovery </a:t>
              </a:r>
              <a:r>
                <a:rPr lang="en-US" sz="900" dirty="0"/>
                <a:t>and </a:t>
              </a:r>
              <a:r>
                <a:rPr lang="en-US" sz="900" dirty="0" smtClean="0"/>
                <a:t>quarantine</a:t>
              </a:r>
              <a:endParaRPr lang="en-US" sz="900" dirty="0"/>
            </a:p>
            <a:p>
              <a:pPr marL="55563" indent="-55563">
                <a:spcAft>
                  <a:spcPts val="600"/>
                </a:spcAft>
                <a:buClr>
                  <a:schemeClr val="bg1"/>
                </a:buClr>
                <a:buFont typeface="Arial" panose="020B0604020202020204" pitchFamily="34" charset="0"/>
                <a:buChar char="•"/>
              </a:pPr>
              <a:r>
                <a:rPr lang="en-US" sz="900" dirty="0"/>
                <a:t>Block transfers in violation of Information Security Policy</a:t>
              </a:r>
            </a:p>
          </p:txBody>
        </p:sp>
      </p:grpSp>
      <p:grpSp>
        <p:nvGrpSpPr>
          <p:cNvPr id="14" name="Group 13"/>
          <p:cNvGrpSpPr/>
          <p:nvPr/>
        </p:nvGrpSpPr>
        <p:grpSpPr>
          <a:xfrm>
            <a:off x="4294521" y="1259581"/>
            <a:ext cx="656208" cy="565615"/>
            <a:chOff x="8224838" y="646113"/>
            <a:chExt cx="492125" cy="490537"/>
          </a:xfrm>
          <a:solidFill>
            <a:srgbClr val="552684"/>
          </a:solidFill>
        </p:grpSpPr>
        <p:sp>
          <p:nvSpPr>
            <p:cNvPr id="15" name="Freeform 5"/>
            <p:cNvSpPr>
              <a:spLocks noEditPoints="1"/>
            </p:cNvSpPr>
            <p:nvPr/>
          </p:nvSpPr>
          <p:spPr bwMode="auto">
            <a:xfrm>
              <a:off x="8356601" y="646113"/>
              <a:ext cx="225425" cy="325437"/>
            </a:xfrm>
            <a:custGeom>
              <a:avLst/>
              <a:gdLst>
                <a:gd name="T0" fmla="*/ 29 w 59"/>
                <a:gd name="T1" fmla="*/ 85 h 85"/>
                <a:gd name="T2" fmla="*/ 59 w 59"/>
                <a:gd name="T3" fmla="*/ 30 h 85"/>
                <a:gd name="T4" fmla="*/ 29 w 59"/>
                <a:gd name="T5" fmla="*/ 0 h 85"/>
                <a:gd name="T6" fmla="*/ 0 w 59"/>
                <a:gd name="T7" fmla="*/ 30 h 85"/>
                <a:gd name="T8" fmla="*/ 11 w 59"/>
                <a:gd name="T9" fmla="*/ 63 h 85"/>
                <a:gd name="T10" fmla="*/ 29 w 59"/>
                <a:gd name="T11" fmla="*/ 85 h 85"/>
                <a:gd name="T12" fmla="*/ 29 w 59"/>
                <a:gd name="T13" fmla="*/ 8 h 85"/>
                <a:gd name="T14" fmla="*/ 51 w 59"/>
                <a:gd name="T15" fmla="*/ 30 h 85"/>
                <a:gd name="T16" fmla="*/ 29 w 59"/>
                <a:gd name="T17" fmla="*/ 77 h 85"/>
                <a:gd name="T18" fmla="*/ 8 w 59"/>
                <a:gd name="T19" fmla="*/ 30 h 85"/>
                <a:gd name="T20" fmla="*/ 29 w 59"/>
                <a:gd name="T21"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5">
                  <a:moveTo>
                    <a:pt x="29" y="85"/>
                  </a:moveTo>
                  <a:cubicBezTo>
                    <a:pt x="40" y="85"/>
                    <a:pt x="59" y="44"/>
                    <a:pt x="59" y="30"/>
                  </a:cubicBezTo>
                  <a:cubicBezTo>
                    <a:pt x="59" y="13"/>
                    <a:pt x="46" y="0"/>
                    <a:pt x="29" y="0"/>
                  </a:cubicBezTo>
                  <a:cubicBezTo>
                    <a:pt x="13" y="0"/>
                    <a:pt x="0" y="13"/>
                    <a:pt x="0" y="30"/>
                  </a:cubicBezTo>
                  <a:cubicBezTo>
                    <a:pt x="0" y="41"/>
                    <a:pt x="8" y="58"/>
                    <a:pt x="11" y="63"/>
                  </a:cubicBezTo>
                  <a:cubicBezTo>
                    <a:pt x="18" y="78"/>
                    <a:pt x="24" y="85"/>
                    <a:pt x="29" y="85"/>
                  </a:cubicBezTo>
                  <a:close/>
                  <a:moveTo>
                    <a:pt x="29" y="8"/>
                  </a:moveTo>
                  <a:cubicBezTo>
                    <a:pt x="41" y="8"/>
                    <a:pt x="51" y="18"/>
                    <a:pt x="51" y="30"/>
                  </a:cubicBezTo>
                  <a:cubicBezTo>
                    <a:pt x="51" y="44"/>
                    <a:pt x="35" y="73"/>
                    <a:pt x="29" y="77"/>
                  </a:cubicBezTo>
                  <a:cubicBezTo>
                    <a:pt x="24" y="73"/>
                    <a:pt x="8" y="44"/>
                    <a:pt x="8" y="30"/>
                  </a:cubicBezTo>
                  <a:cubicBezTo>
                    <a:pt x="8" y="18"/>
                    <a:pt x="18" y="8"/>
                    <a:pt x="29" y="8"/>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sp>
          <p:nvSpPr>
            <p:cNvPr id="16" name="Freeform 6"/>
            <p:cNvSpPr>
              <a:spLocks noEditPoints="1"/>
            </p:cNvSpPr>
            <p:nvPr/>
          </p:nvSpPr>
          <p:spPr bwMode="auto">
            <a:xfrm>
              <a:off x="8413751" y="700088"/>
              <a:ext cx="111125" cy="111125"/>
            </a:xfrm>
            <a:custGeom>
              <a:avLst/>
              <a:gdLst>
                <a:gd name="T0" fmla="*/ 29 w 29"/>
                <a:gd name="T1" fmla="*/ 15 h 29"/>
                <a:gd name="T2" fmla="*/ 14 w 29"/>
                <a:gd name="T3" fmla="*/ 0 h 29"/>
                <a:gd name="T4" fmla="*/ 0 w 29"/>
                <a:gd name="T5" fmla="*/ 15 h 29"/>
                <a:gd name="T6" fmla="*/ 14 w 29"/>
                <a:gd name="T7" fmla="*/ 29 h 29"/>
                <a:gd name="T8" fmla="*/ 29 w 29"/>
                <a:gd name="T9" fmla="*/ 15 h 29"/>
                <a:gd name="T10" fmla="*/ 4 w 29"/>
                <a:gd name="T11" fmla="*/ 15 h 29"/>
                <a:gd name="T12" fmla="*/ 14 w 29"/>
                <a:gd name="T13" fmla="*/ 4 h 29"/>
                <a:gd name="T14" fmla="*/ 25 w 29"/>
                <a:gd name="T15" fmla="*/ 15 h 29"/>
                <a:gd name="T16" fmla="*/ 14 w 29"/>
                <a:gd name="T17" fmla="*/ 25 h 29"/>
                <a:gd name="T18" fmla="*/ 4 w 29"/>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15"/>
                  </a:moveTo>
                  <a:cubicBezTo>
                    <a:pt x="29" y="6"/>
                    <a:pt x="23" y="0"/>
                    <a:pt x="14" y="0"/>
                  </a:cubicBezTo>
                  <a:cubicBezTo>
                    <a:pt x="6" y="0"/>
                    <a:pt x="0" y="6"/>
                    <a:pt x="0" y="15"/>
                  </a:cubicBezTo>
                  <a:cubicBezTo>
                    <a:pt x="0" y="23"/>
                    <a:pt x="6" y="29"/>
                    <a:pt x="14" y="29"/>
                  </a:cubicBezTo>
                  <a:cubicBezTo>
                    <a:pt x="23" y="29"/>
                    <a:pt x="29" y="23"/>
                    <a:pt x="29" y="15"/>
                  </a:cubicBezTo>
                  <a:close/>
                  <a:moveTo>
                    <a:pt x="4" y="15"/>
                  </a:moveTo>
                  <a:cubicBezTo>
                    <a:pt x="4" y="8"/>
                    <a:pt x="9" y="4"/>
                    <a:pt x="14" y="4"/>
                  </a:cubicBezTo>
                  <a:cubicBezTo>
                    <a:pt x="20" y="4"/>
                    <a:pt x="25" y="8"/>
                    <a:pt x="25" y="15"/>
                  </a:cubicBezTo>
                  <a:cubicBezTo>
                    <a:pt x="25" y="21"/>
                    <a:pt x="20" y="25"/>
                    <a:pt x="14" y="25"/>
                  </a:cubicBezTo>
                  <a:cubicBezTo>
                    <a:pt x="9" y="25"/>
                    <a:pt x="4" y="21"/>
                    <a:pt x="4" y="15"/>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sp>
          <p:nvSpPr>
            <p:cNvPr id="17" name="Freeform 7"/>
            <p:cNvSpPr>
              <a:spLocks/>
            </p:cNvSpPr>
            <p:nvPr/>
          </p:nvSpPr>
          <p:spPr bwMode="auto">
            <a:xfrm>
              <a:off x="8224838" y="768350"/>
              <a:ext cx="492125" cy="368300"/>
            </a:xfrm>
            <a:custGeom>
              <a:avLst/>
              <a:gdLst>
                <a:gd name="T0" fmla="*/ 126 w 128"/>
                <a:gd name="T1" fmla="*/ 1 h 96"/>
                <a:gd name="T2" fmla="*/ 123 w 128"/>
                <a:gd name="T3" fmla="*/ 1 h 96"/>
                <a:gd name="T4" fmla="*/ 97 w 128"/>
                <a:gd name="T5" fmla="*/ 7 h 96"/>
                <a:gd name="T6" fmla="*/ 94 w 128"/>
                <a:gd name="T7" fmla="*/ 12 h 96"/>
                <a:gd name="T8" fmla="*/ 99 w 128"/>
                <a:gd name="T9" fmla="*/ 15 h 96"/>
                <a:gd name="T10" fmla="*/ 120 w 128"/>
                <a:gd name="T11" fmla="*/ 10 h 96"/>
                <a:gd name="T12" fmla="*/ 120 w 128"/>
                <a:gd name="T13" fmla="*/ 80 h 96"/>
                <a:gd name="T14" fmla="*/ 87 w 128"/>
                <a:gd name="T15" fmla="*/ 87 h 96"/>
                <a:gd name="T16" fmla="*/ 87 w 128"/>
                <a:gd name="T17" fmla="*/ 38 h 96"/>
                <a:gd name="T18" fmla="*/ 85 w 128"/>
                <a:gd name="T19" fmla="*/ 36 h 96"/>
                <a:gd name="T20" fmla="*/ 83 w 128"/>
                <a:gd name="T21" fmla="*/ 38 h 96"/>
                <a:gd name="T22" fmla="*/ 83 w 128"/>
                <a:gd name="T23" fmla="*/ 87 h 96"/>
                <a:gd name="T24" fmla="*/ 43 w 128"/>
                <a:gd name="T25" fmla="*/ 73 h 96"/>
                <a:gd name="T26" fmla="*/ 43 w 128"/>
                <a:gd name="T27" fmla="*/ 38 h 96"/>
                <a:gd name="T28" fmla="*/ 41 w 128"/>
                <a:gd name="T29" fmla="*/ 36 h 96"/>
                <a:gd name="T30" fmla="*/ 39 w 128"/>
                <a:gd name="T31" fmla="*/ 38 h 96"/>
                <a:gd name="T32" fmla="*/ 39 w 128"/>
                <a:gd name="T33" fmla="*/ 73 h 96"/>
                <a:gd name="T34" fmla="*/ 8 w 128"/>
                <a:gd name="T35" fmla="*/ 86 h 96"/>
                <a:gd name="T36" fmla="*/ 8 w 128"/>
                <a:gd name="T37" fmla="*/ 16 h 96"/>
                <a:gd name="T38" fmla="*/ 29 w 128"/>
                <a:gd name="T39" fmla="*/ 8 h 96"/>
                <a:gd name="T40" fmla="*/ 31 w 128"/>
                <a:gd name="T41" fmla="*/ 3 h 96"/>
                <a:gd name="T42" fmla="*/ 26 w 128"/>
                <a:gd name="T43" fmla="*/ 0 h 96"/>
                <a:gd name="T44" fmla="*/ 3 w 128"/>
                <a:gd name="T45" fmla="*/ 10 h 96"/>
                <a:gd name="T46" fmla="*/ 0 w 128"/>
                <a:gd name="T47" fmla="*/ 14 h 96"/>
                <a:gd name="T48" fmla="*/ 0 w 128"/>
                <a:gd name="T49" fmla="*/ 92 h 96"/>
                <a:gd name="T50" fmla="*/ 2 w 128"/>
                <a:gd name="T51" fmla="*/ 95 h 96"/>
                <a:gd name="T52" fmla="*/ 4 w 128"/>
                <a:gd name="T53" fmla="*/ 96 h 96"/>
                <a:gd name="T54" fmla="*/ 6 w 128"/>
                <a:gd name="T55" fmla="*/ 96 h 96"/>
                <a:gd name="T56" fmla="*/ 41 w 128"/>
                <a:gd name="T57" fmla="*/ 81 h 96"/>
                <a:gd name="T58" fmla="*/ 84 w 128"/>
                <a:gd name="T59" fmla="*/ 96 h 96"/>
                <a:gd name="T60" fmla="*/ 87 w 128"/>
                <a:gd name="T61" fmla="*/ 96 h 96"/>
                <a:gd name="T62" fmla="*/ 125 w 128"/>
                <a:gd name="T63" fmla="*/ 87 h 96"/>
                <a:gd name="T64" fmla="*/ 128 w 128"/>
                <a:gd name="T65" fmla="*/ 83 h 96"/>
                <a:gd name="T66" fmla="*/ 128 w 128"/>
                <a:gd name="T67" fmla="*/ 4 h 96"/>
                <a:gd name="T68" fmla="*/ 126 w 128"/>
                <a:gd name="T69"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96">
                  <a:moveTo>
                    <a:pt x="126" y="1"/>
                  </a:moveTo>
                  <a:cubicBezTo>
                    <a:pt x="125" y="1"/>
                    <a:pt x="124" y="0"/>
                    <a:pt x="123" y="1"/>
                  </a:cubicBezTo>
                  <a:cubicBezTo>
                    <a:pt x="97" y="7"/>
                    <a:pt x="97" y="7"/>
                    <a:pt x="97" y="7"/>
                  </a:cubicBezTo>
                  <a:cubicBezTo>
                    <a:pt x="95" y="7"/>
                    <a:pt x="94" y="10"/>
                    <a:pt x="94" y="12"/>
                  </a:cubicBezTo>
                  <a:cubicBezTo>
                    <a:pt x="95" y="14"/>
                    <a:pt x="97" y="15"/>
                    <a:pt x="99" y="15"/>
                  </a:cubicBezTo>
                  <a:cubicBezTo>
                    <a:pt x="120" y="10"/>
                    <a:pt x="120" y="10"/>
                    <a:pt x="120" y="10"/>
                  </a:cubicBezTo>
                  <a:cubicBezTo>
                    <a:pt x="120" y="80"/>
                    <a:pt x="120" y="80"/>
                    <a:pt x="120" y="80"/>
                  </a:cubicBezTo>
                  <a:cubicBezTo>
                    <a:pt x="87" y="87"/>
                    <a:pt x="87" y="87"/>
                    <a:pt x="87" y="87"/>
                  </a:cubicBezTo>
                  <a:cubicBezTo>
                    <a:pt x="87" y="38"/>
                    <a:pt x="87" y="38"/>
                    <a:pt x="87" y="38"/>
                  </a:cubicBezTo>
                  <a:cubicBezTo>
                    <a:pt x="87" y="37"/>
                    <a:pt x="86" y="36"/>
                    <a:pt x="85" y="36"/>
                  </a:cubicBezTo>
                  <a:cubicBezTo>
                    <a:pt x="84" y="36"/>
                    <a:pt x="83" y="37"/>
                    <a:pt x="83" y="38"/>
                  </a:cubicBezTo>
                  <a:cubicBezTo>
                    <a:pt x="83" y="87"/>
                    <a:pt x="83" y="87"/>
                    <a:pt x="83" y="87"/>
                  </a:cubicBezTo>
                  <a:cubicBezTo>
                    <a:pt x="43" y="73"/>
                    <a:pt x="43" y="73"/>
                    <a:pt x="43" y="73"/>
                  </a:cubicBezTo>
                  <a:cubicBezTo>
                    <a:pt x="43" y="38"/>
                    <a:pt x="43" y="38"/>
                    <a:pt x="43" y="38"/>
                  </a:cubicBezTo>
                  <a:cubicBezTo>
                    <a:pt x="43" y="37"/>
                    <a:pt x="42" y="36"/>
                    <a:pt x="41" y="36"/>
                  </a:cubicBezTo>
                  <a:cubicBezTo>
                    <a:pt x="40" y="36"/>
                    <a:pt x="39" y="37"/>
                    <a:pt x="39" y="38"/>
                  </a:cubicBezTo>
                  <a:cubicBezTo>
                    <a:pt x="39" y="73"/>
                    <a:pt x="39" y="73"/>
                    <a:pt x="39" y="73"/>
                  </a:cubicBezTo>
                  <a:cubicBezTo>
                    <a:pt x="8" y="86"/>
                    <a:pt x="8" y="86"/>
                    <a:pt x="8" y="86"/>
                  </a:cubicBezTo>
                  <a:cubicBezTo>
                    <a:pt x="8" y="16"/>
                    <a:pt x="8" y="16"/>
                    <a:pt x="8" y="16"/>
                  </a:cubicBezTo>
                  <a:cubicBezTo>
                    <a:pt x="29" y="8"/>
                    <a:pt x="29" y="8"/>
                    <a:pt x="29" y="8"/>
                  </a:cubicBezTo>
                  <a:cubicBezTo>
                    <a:pt x="31" y="7"/>
                    <a:pt x="32" y="5"/>
                    <a:pt x="31" y="3"/>
                  </a:cubicBezTo>
                  <a:cubicBezTo>
                    <a:pt x="30" y="1"/>
                    <a:pt x="28" y="0"/>
                    <a:pt x="26" y="0"/>
                  </a:cubicBezTo>
                  <a:cubicBezTo>
                    <a:pt x="3" y="10"/>
                    <a:pt x="3" y="10"/>
                    <a:pt x="3" y="10"/>
                  </a:cubicBezTo>
                  <a:cubicBezTo>
                    <a:pt x="1" y="11"/>
                    <a:pt x="0" y="12"/>
                    <a:pt x="0" y="14"/>
                  </a:cubicBezTo>
                  <a:cubicBezTo>
                    <a:pt x="0" y="92"/>
                    <a:pt x="0" y="92"/>
                    <a:pt x="0" y="92"/>
                  </a:cubicBezTo>
                  <a:cubicBezTo>
                    <a:pt x="0" y="93"/>
                    <a:pt x="1" y="95"/>
                    <a:pt x="2" y="95"/>
                  </a:cubicBezTo>
                  <a:cubicBezTo>
                    <a:pt x="2" y="96"/>
                    <a:pt x="3" y="96"/>
                    <a:pt x="4" y="96"/>
                  </a:cubicBezTo>
                  <a:cubicBezTo>
                    <a:pt x="5" y="96"/>
                    <a:pt x="5" y="96"/>
                    <a:pt x="6" y="96"/>
                  </a:cubicBezTo>
                  <a:cubicBezTo>
                    <a:pt x="41" y="81"/>
                    <a:pt x="41" y="81"/>
                    <a:pt x="41" y="81"/>
                  </a:cubicBezTo>
                  <a:cubicBezTo>
                    <a:pt x="84" y="96"/>
                    <a:pt x="84" y="96"/>
                    <a:pt x="84" y="96"/>
                  </a:cubicBezTo>
                  <a:cubicBezTo>
                    <a:pt x="85" y="96"/>
                    <a:pt x="86" y="96"/>
                    <a:pt x="87" y="96"/>
                  </a:cubicBezTo>
                  <a:cubicBezTo>
                    <a:pt x="125" y="87"/>
                    <a:pt x="125" y="87"/>
                    <a:pt x="125" y="87"/>
                  </a:cubicBezTo>
                  <a:cubicBezTo>
                    <a:pt x="127" y="86"/>
                    <a:pt x="128" y="85"/>
                    <a:pt x="128" y="83"/>
                  </a:cubicBezTo>
                  <a:cubicBezTo>
                    <a:pt x="128" y="4"/>
                    <a:pt x="128" y="4"/>
                    <a:pt x="128" y="4"/>
                  </a:cubicBezTo>
                  <a:cubicBezTo>
                    <a:pt x="128" y="3"/>
                    <a:pt x="127" y="2"/>
                    <a:pt x="126" y="1"/>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grpSp>
      <p:grpSp>
        <p:nvGrpSpPr>
          <p:cNvPr id="18" name="Group 17"/>
          <p:cNvGrpSpPr/>
          <p:nvPr/>
        </p:nvGrpSpPr>
        <p:grpSpPr>
          <a:xfrm>
            <a:off x="7222770" y="1266059"/>
            <a:ext cx="615701" cy="728684"/>
            <a:chOff x="8196263" y="4981575"/>
            <a:chExt cx="796925" cy="908050"/>
          </a:xfrm>
          <a:solidFill>
            <a:srgbClr val="552684"/>
          </a:solidFill>
        </p:grpSpPr>
        <p:sp>
          <p:nvSpPr>
            <p:cNvPr id="19" name="Freeform 5"/>
            <p:cNvSpPr>
              <a:spLocks noEditPoints="1"/>
            </p:cNvSpPr>
            <p:nvPr/>
          </p:nvSpPr>
          <p:spPr bwMode="auto">
            <a:xfrm>
              <a:off x="8196263" y="4981575"/>
              <a:ext cx="796925" cy="908050"/>
            </a:xfrm>
            <a:custGeom>
              <a:avLst/>
              <a:gdLst>
                <a:gd name="T0" fmla="*/ 666 w 907"/>
                <a:gd name="T1" fmla="*/ 33 h 1034"/>
                <a:gd name="T2" fmla="*/ 236 w 907"/>
                <a:gd name="T3" fmla="*/ 68 h 1034"/>
                <a:gd name="T4" fmla="*/ 77 w 907"/>
                <a:gd name="T5" fmla="*/ 272 h 1034"/>
                <a:gd name="T6" fmla="*/ 78 w 907"/>
                <a:gd name="T7" fmla="*/ 399 h 1034"/>
                <a:gd name="T8" fmla="*/ 81 w 907"/>
                <a:gd name="T9" fmla="*/ 411 h 1034"/>
                <a:gd name="T10" fmla="*/ 44 w 907"/>
                <a:gd name="T11" fmla="*/ 468 h 1034"/>
                <a:gd name="T12" fmla="*/ 16 w 907"/>
                <a:gd name="T13" fmla="*/ 509 h 1034"/>
                <a:gd name="T14" fmla="*/ 16 w 907"/>
                <a:gd name="T15" fmla="*/ 510 h 1034"/>
                <a:gd name="T16" fmla="*/ 42 w 907"/>
                <a:gd name="T17" fmla="*/ 624 h 1034"/>
                <a:gd name="T18" fmla="*/ 57 w 907"/>
                <a:gd name="T19" fmla="*/ 677 h 1034"/>
                <a:gd name="T20" fmla="*/ 86 w 907"/>
                <a:gd name="T21" fmla="*/ 749 h 1034"/>
                <a:gd name="T22" fmla="*/ 85 w 907"/>
                <a:gd name="T23" fmla="*/ 800 h 1034"/>
                <a:gd name="T24" fmla="*/ 195 w 907"/>
                <a:gd name="T25" fmla="*/ 892 h 1034"/>
                <a:gd name="T26" fmla="*/ 281 w 907"/>
                <a:gd name="T27" fmla="*/ 958 h 1034"/>
                <a:gd name="T28" fmla="*/ 713 w 907"/>
                <a:gd name="T29" fmla="*/ 1034 h 1034"/>
                <a:gd name="T30" fmla="*/ 791 w 907"/>
                <a:gd name="T31" fmla="*/ 940 h 1034"/>
                <a:gd name="T32" fmla="*/ 766 w 907"/>
                <a:gd name="T33" fmla="*/ 735 h 1034"/>
                <a:gd name="T34" fmla="*/ 896 w 907"/>
                <a:gd name="T35" fmla="*/ 481 h 1034"/>
                <a:gd name="T36" fmla="*/ 814 w 907"/>
                <a:gd name="T37" fmla="*/ 136 h 1034"/>
                <a:gd name="T38" fmla="*/ 723 w 907"/>
                <a:gd name="T39" fmla="*/ 699 h 1034"/>
                <a:gd name="T40" fmla="*/ 736 w 907"/>
                <a:gd name="T41" fmla="*/ 949 h 1034"/>
                <a:gd name="T42" fmla="*/ 713 w 907"/>
                <a:gd name="T43" fmla="*/ 978 h 1034"/>
                <a:gd name="T44" fmla="*/ 337 w 907"/>
                <a:gd name="T45" fmla="*/ 955 h 1034"/>
                <a:gd name="T46" fmla="*/ 300 w 907"/>
                <a:gd name="T47" fmla="*/ 814 h 1034"/>
                <a:gd name="T48" fmla="*/ 195 w 907"/>
                <a:gd name="T49" fmla="*/ 837 h 1034"/>
                <a:gd name="T50" fmla="*/ 116 w 907"/>
                <a:gd name="T51" fmla="*/ 697 h 1034"/>
                <a:gd name="T52" fmla="*/ 126 w 907"/>
                <a:gd name="T53" fmla="*/ 655 h 1034"/>
                <a:gd name="T54" fmla="*/ 99 w 907"/>
                <a:gd name="T55" fmla="*/ 640 h 1034"/>
                <a:gd name="T56" fmla="*/ 108 w 907"/>
                <a:gd name="T57" fmla="*/ 598 h 1034"/>
                <a:gd name="T58" fmla="*/ 75 w 907"/>
                <a:gd name="T59" fmla="*/ 579 h 1034"/>
                <a:gd name="T60" fmla="*/ 63 w 907"/>
                <a:gd name="T61" fmla="*/ 539 h 1034"/>
                <a:gd name="T62" fmla="*/ 128 w 907"/>
                <a:gd name="T63" fmla="*/ 440 h 1034"/>
                <a:gd name="T64" fmla="*/ 132 w 907"/>
                <a:gd name="T65" fmla="*/ 387 h 1034"/>
                <a:gd name="T66" fmla="*/ 131 w 907"/>
                <a:gd name="T67" fmla="*/ 286 h 1034"/>
                <a:gd name="T68" fmla="*/ 841 w 907"/>
                <a:gd name="T69" fmla="*/ 47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7" h="1034">
                  <a:moveTo>
                    <a:pt x="814" y="136"/>
                  </a:moveTo>
                  <a:cubicBezTo>
                    <a:pt x="775" y="91"/>
                    <a:pt x="726" y="56"/>
                    <a:pt x="666" y="33"/>
                  </a:cubicBezTo>
                  <a:cubicBezTo>
                    <a:pt x="613" y="11"/>
                    <a:pt x="552" y="0"/>
                    <a:pt x="490" y="0"/>
                  </a:cubicBezTo>
                  <a:cubicBezTo>
                    <a:pt x="399" y="0"/>
                    <a:pt x="308" y="24"/>
                    <a:pt x="236" y="68"/>
                  </a:cubicBezTo>
                  <a:cubicBezTo>
                    <a:pt x="196" y="92"/>
                    <a:pt x="163" y="120"/>
                    <a:pt x="137" y="153"/>
                  </a:cubicBezTo>
                  <a:cubicBezTo>
                    <a:pt x="108" y="189"/>
                    <a:pt x="88" y="229"/>
                    <a:pt x="77" y="272"/>
                  </a:cubicBezTo>
                  <a:cubicBezTo>
                    <a:pt x="68" y="310"/>
                    <a:pt x="67" y="352"/>
                    <a:pt x="75" y="387"/>
                  </a:cubicBezTo>
                  <a:cubicBezTo>
                    <a:pt x="78" y="399"/>
                    <a:pt x="78" y="399"/>
                    <a:pt x="78" y="399"/>
                  </a:cubicBezTo>
                  <a:cubicBezTo>
                    <a:pt x="78" y="403"/>
                    <a:pt x="79" y="406"/>
                    <a:pt x="80" y="409"/>
                  </a:cubicBezTo>
                  <a:cubicBezTo>
                    <a:pt x="80" y="410"/>
                    <a:pt x="80" y="410"/>
                    <a:pt x="81" y="411"/>
                  </a:cubicBezTo>
                  <a:cubicBezTo>
                    <a:pt x="78" y="416"/>
                    <a:pt x="78" y="416"/>
                    <a:pt x="78" y="416"/>
                  </a:cubicBezTo>
                  <a:cubicBezTo>
                    <a:pt x="70" y="433"/>
                    <a:pt x="58" y="450"/>
                    <a:pt x="44" y="468"/>
                  </a:cubicBezTo>
                  <a:cubicBezTo>
                    <a:pt x="35" y="481"/>
                    <a:pt x="25" y="494"/>
                    <a:pt x="16" y="509"/>
                  </a:cubicBezTo>
                  <a:cubicBezTo>
                    <a:pt x="16" y="509"/>
                    <a:pt x="16" y="509"/>
                    <a:pt x="16" y="509"/>
                  </a:cubicBezTo>
                  <a:cubicBezTo>
                    <a:pt x="16" y="509"/>
                    <a:pt x="16" y="509"/>
                    <a:pt x="16" y="509"/>
                  </a:cubicBezTo>
                  <a:cubicBezTo>
                    <a:pt x="16" y="510"/>
                    <a:pt x="16" y="510"/>
                    <a:pt x="16" y="510"/>
                  </a:cubicBezTo>
                  <a:cubicBezTo>
                    <a:pt x="3" y="530"/>
                    <a:pt x="0" y="555"/>
                    <a:pt x="7" y="578"/>
                  </a:cubicBezTo>
                  <a:cubicBezTo>
                    <a:pt x="12" y="597"/>
                    <a:pt x="25" y="613"/>
                    <a:pt x="42" y="624"/>
                  </a:cubicBezTo>
                  <a:cubicBezTo>
                    <a:pt x="40" y="638"/>
                    <a:pt x="43" y="652"/>
                    <a:pt x="49" y="665"/>
                  </a:cubicBezTo>
                  <a:cubicBezTo>
                    <a:pt x="51" y="669"/>
                    <a:pt x="54" y="674"/>
                    <a:pt x="57" y="677"/>
                  </a:cubicBezTo>
                  <a:cubicBezTo>
                    <a:pt x="55" y="696"/>
                    <a:pt x="60" y="714"/>
                    <a:pt x="71" y="730"/>
                  </a:cubicBezTo>
                  <a:cubicBezTo>
                    <a:pt x="86" y="749"/>
                    <a:pt x="86" y="749"/>
                    <a:pt x="86" y="749"/>
                  </a:cubicBezTo>
                  <a:cubicBezTo>
                    <a:pt x="86" y="752"/>
                    <a:pt x="86" y="755"/>
                    <a:pt x="85" y="758"/>
                  </a:cubicBezTo>
                  <a:cubicBezTo>
                    <a:pt x="85" y="770"/>
                    <a:pt x="84" y="785"/>
                    <a:pt x="85" y="800"/>
                  </a:cubicBezTo>
                  <a:cubicBezTo>
                    <a:pt x="88" y="825"/>
                    <a:pt x="97" y="845"/>
                    <a:pt x="112" y="860"/>
                  </a:cubicBezTo>
                  <a:cubicBezTo>
                    <a:pt x="132" y="881"/>
                    <a:pt x="160" y="892"/>
                    <a:pt x="195" y="892"/>
                  </a:cubicBezTo>
                  <a:cubicBezTo>
                    <a:pt x="218" y="892"/>
                    <a:pt x="244" y="888"/>
                    <a:pt x="276" y="879"/>
                  </a:cubicBezTo>
                  <a:cubicBezTo>
                    <a:pt x="278" y="899"/>
                    <a:pt x="280" y="925"/>
                    <a:pt x="281" y="958"/>
                  </a:cubicBezTo>
                  <a:cubicBezTo>
                    <a:pt x="283" y="1000"/>
                    <a:pt x="318" y="1034"/>
                    <a:pt x="361" y="1034"/>
                  </a:cubicBezTo>
                  <a:cubicBezTo>
                    <a:pt x="713" y="1034"/>
                    <a:pt x="713" y="1034"/>
                    <a:pt x="713" y="1034"/>
                  </a:cubicBezTo>
                  <a:cubicBezTo>
                    <a:pt x="736" y="1034"/>
                    <a:pt x="759" y="1023"/>
                    <a:pt x="774" y="1005"/>
                  </a:cubicBezTo>
                  <a:cubicBezTo>
                    <a:pt x="789" y="987"/>
                    <a:pt x="795" y="963"/>
                    <a:pt x="791" y="940"/>
                  </a:cubicBezTo>
                  <a:cubicBezTo>
                    <a:pt x="759" y="759"/>
                    <a:pt x="759" y="759"/>
                    <a:pt x="759" y="759"/>
                  </a:cubicBezTo>
                  <a:cubicBezTo>
                    <a:pt x="758" y="751"/>
                    <a:pt x="760" y="742"/>
                    <a:pt x="766" y="735"/>
                  </a:cubicBezTo>
                  <a:cubicBezTo>
                    <a:pt x="792" y="704"/>
                    <a:pt x="821" y="668"/>
                    <a:pt x="845" y="625"/>
                  </a:cubicBezTo>
                  <a:cubicBezTo>
                    <a:pt x="872" y="578"/>
                    <a:pt x="888" y="531"/>
                    <a:pt x="896" y="481"/>
                  </a:cubicBezTo>
                  <a:cubicBezTo>
                    <a:pt x="907" y="410"/>
                    <a:pt x="905" y="344"/>
                    <a:pt x="890" y="285"/>
                  </a:cubicBezTo>
                  <a:cubicBezTo>
                    <a:pt x="876" y="228"/>
                    <a:pt x="850" y="178"/>
                    <a:pt x="814" y="136"/>
                  </a:cubicBezTo>
                  <a:close/>
                  <a:moveTo>
                    <a:pt x="841" y="473"/>
                  </a:moveTo>
                  <a:cubicBezTo>
                    <a:pt x="826" y="567"/>
                    <a:pt x="777" y="635"/>
                    <a:pt x="723" y="699"/>
                  </a:cubicBezTo>
                  <a:cubicBezTo>
                    <a:pt x="707" y="718"/>
                    <a:pt x="700" y="744"/>
                    <a:pt x="704" y="769"/>
                  </a:cubicBezTo>
                  <a:cubicBezTo>
                    <a:pt x="736" y="949"/>
                    <a:pt x="736" y="949"/>
                    <a:pt x="736" y="949"/>
                  </a:cubicBezTo>
                  <a:cubicBezTo>
                    <a:pt x="738" y="956"/>
                    <a:pt x="736" y="964"/>
                    <a:pt x="731" y="969"/>
                  </a:cubicBezTo>
                  <a:cubicBezTo>
                    <a:pt x="727" y="975"/>
                    <a:pt x="720" y="978"/>
                    <a:pt x="713" y="978"/>
                  </a:cubicBezTo>
                  <a:cubicBezTo>
                    <a:pt x="361" y="978"/>
                    <a:pt x="361" y="978"/>
                    <a:pt x="361" y="978"/>
                  </a:cubicBezTo>
                  <a:cubicBezTo>
                    <a:pt x="348" y="978"/>
                    <a:pt x="337" y="968"/>
                    <a:pt x="337" y="955"/>
                  </a:cubicBezTo>
                  <a:cubicBezTo>
                    <a:pt x="334" y="894"/>
                    <a:pt x="330" y="856"/>
                    <a:pt x="328" y="835"/>
                  </a:cubicBezTo>
                  <a:cubicBezTo>
                    <a:pt x="327" y="825"/>
                    <a:pt x="314" y="814"/>
                    <a:pt x="300" y="814"/>
                  </a:cubicBezTo>
                  <a:cubicBezTo>
                    <a:pt x="297" y="814"/>
                    <a:pt x="295" y="815"/>
                    <a:pt x="292" y="816"/>
                  </a:cubicBezTo>
                  <a:cubicBezTo>
                    <a:pt x="249" y="830"/>
                    <a:pt x="217" y="837"/>
                    <a:pt x="195" y="837"/>
                  </a:cubicBezTo>
                  <a:cubicBezTo>
                    <a:pt x="109" y="837"/>
                    <a:pt x="154" y="748"/>
                    <a:pt x="137" y="725"/>
                  </a:cubicBezTo>
                  <a:cubicBezTo>
                    <a:pt x="116" y="697"/>
                    <a:pt x="116" y="697"/>
                    <a:pt x="116" y="697"/>
                  </a:cubicBezTo>
                  <a:cubicBezTo>
                    <a:pt x="111" y="689"/>
                    <a:pt x="111" y="680"/>
                    <a:pt x="115" y="672"/>
                  </a:cubicBezTo>
                  <a:cubicBezTo>
                    <a:pt x="126" y="655"/>
                    <a:pt x="126" y="655"/>
                    <a:pt x="126" y="655"/>
                  </a:cubicBezTo>
                  <a:cubicBezTo>
                    <a:pt x="112" y="652"/>
                    <a:pt x="112" y="652"/>
                    <a:pt x="112" y="652"/>
                  </a:cubicBezTo>
                  <a:cubicBezTo>
                    <a:pt x="107" y="650"/>
                    <a:pt x="102" y="646"/>
                    <a:pt x="99" y="640"/>
                  </a:cubicBezTo>
                  <a:cubicBezTo>
                    <a:pt x="96" y="635"/>
                    <a:pt x="96" y="629"/>
                    <a:pt x="98" y="623"/>
                  </a:cubicBezTo>
                  <a:cubicBezTo>
                    <a:pt x="108" y="598"/>
                    <a:pt x="108" y="598"/>
                    <a:pt x="108" y="598"/>
                  </a:cubicBezTo>
                  <a:cubicBezTo>
                    <a:pt x="109" y="596"/>
                    <a:pt x="108" y="593"/>
                    <a:pt x="106" y="592"/>
                  </a:cubicBezTo>
                  <a:cubicBezTo>
                    <a:pt x="75" y="579"/>
                    <a:pt x="75" y="579"/>
                    <a:pt x="75" y="579"/>
                  </a:cubicBezTo>
                  <a:cubicBezTo>
                    <a:pt x="68" y="575"/>
                    <a:pt x="62" y="569"/>
                    <a:pt x="60" y="562"/>
                  </a:cubicBezTo>
                  <a:cubicBezTo>
                    <a:pt x="58" y="554"/>
                    <a:pt x="59" y="546"/>
                    <a:pt x="63" y="539"/>
                  </a:cubicBezTo>
                  <a:cubicBezTo>
                    <a:pt x="63" y="538"/>
                    <a:pt x="63" y="538"/>
                    <a:pt x="63" y="538"/>
                  </a:cubicBezTo>
                  <a:cubicBezTo>
                    <a:pt x="84" y="505"/>
                    <a:pt x="111" y="475"/>
                    <a:pt x="128" y="440"/>
                  </a:cubicBezTo>
                  <a:cubicBezTo>
                    <a:pt x="136" y="425"/>
                    <a:pt x="136" y="425"/>
                    <a:pt x="136" y="425"/>
                  </a:cubicBezTo>
                  <a:cubicBezTo>
                    <a:pt x="141" y="415"/>
                    <a:pt x="134" y="398"/>
                    <a:pt x="132" y="387"/>
                  </a:cubicBezTo>
                  <a:cubicBezTo>
                    <a:pt x="129" y="375"/>
                    <a:pt x="129" y="375"/>
                    <a:pt x="129" y="375"/>
                  </a:cubicBezTo>
                  <a:cubicBezTo>
                    <a:pt x="123" y="347"/>
                    <a:pt x="124" y="313"/>
                    <a:pt x="131" y="286"/>
                  </a:cubicBezTo>
                  <a:cubicBezTo>
                    <a:pt x="168" y="139"/>
                    <a:pt x="330" y="56"/>
                    <a:pt x="490" y="56"/>
                  </a:cubicBezTo>
                  <a:cubicBezTo>
                    <a:pt x="689" y="56"/>
                    <a:pt x="885" y="183"/>
                    <a:pt x="841" y="473"/>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sp>
          <p:nvSpPr>
            <p:cNvPr id="20" name="Freeform 6"/>
            <p:cNvSpPr>
              <a:spLocks noEditPoints="1"/>
            </p:cNvSpPr>
            <p:nvPr/>
          </p:nvSpPr>
          <p:spPr bwMode="auto">
            <a:xfrm>
              <a:off x="8596313" y="5100638"/>
              <a:ext cx="296863" cy="295275"/>
            </a:xfrm>
            <a:custGeom>
              <a:avLst/>
              <a:gdLst>
                <a:gd name="T0" fmla="*/ 192 w 337"/>
                <a:gd name="T1" fmla="*/ 36 h 336"/>
                <a:gd name="T2" fmla="*/ 234 w 337"/>
                <a:gd name="T3" fmla="*/ 68 h 336"/>
                <a:gd name="T4" fmla="*/ 253 w 337"/>
                <a:gd name="T5" fmla="*/ 54 h 336"/>
                <a:gd name="T6" fmla="*/ 279 w 337"/>
                <a:gd name="T7" fmla="*/ 74 h 336"/>
                <a:gd name="T8" fmla="*/ 268 w 337"/>
                <a:gd name="T9" fmla="*/ 102 h 336"/>
                <a:gd name="T10" fmla="*/ 301 w 337"/>
                <a:gd name="T11" fmla="*/ 144 h 336"/>
                <a:gd name="T12" fmla="*/ 313 w 337"/>
                <a:gd name="T13" fmla="*/ 180 h 336"/>
                <a:gd name="T14" fmla="*/ 286 w 337"/>
                <a:gd name="T15" fmla="*/ 192 h 336"/>
                <a:gd name="T16" fmla="*/ 279 w 337"/>
                <a:gd name="T17" fmla="*/ 244 h 336"/>
                <a:gd name="T18" fmla="*/ 262 w 337"/>
                <a:gd name="T19" fmla="*/ 278 h 336"/>
                <a:gd name="T20" fmla="*/ 245 w 337"/>
                <a:gd name="T21" fmla="*/ 278 h 336"/>
                <a:gd name="T22" fmla="*/ 192 w 337"/>
                <a:gd name="T23" fmla="*/ 286 h 336"/>
                <a:gd name="T24" fmla="*/ 180 w 337"/>
                <a:gd name="T25" fmla="*/ 312 h 336"/>
                <a:gd name="T26" fmla="*/ 144 w 337"/>
                <a:gd name="T27" fmla="*/ 300 h 336"/>
                <a:gd name="T28" fmla="*/ 102 w 337"/>
                <a:gd name="T29" fmla="*/ 268 h 336"/>
                <a:gd name="T30" fmla="*/ 84 w 337"/>
                <a:gd name="T31" fmla="*/ 282 h 336"/>
                <a:gd name="T32" fmla="*/ 58 w 337"/>
                <a:gd name="T33" fmla="*/ 261 h 336"/>
                <a:gd name="T34" fmla="*/ 69 w 337"/>
                <a:gd name="T35" fmla="*/ 234 h 336"/>
                <a:gd name="T36" fmla="*/ 36 w 337"/>
                <a:gd name="T37" fmla="*/ 192 h 336"/>
                <a:gd name="T38" fmla="*/ 24 w 337"/>
                <a:gd name="T39" fmla="*/ 156 h 336"/>
                <a:gd name="T40" fmla="*/ 51 w 337"/>
                <a:gd name="T41" fmla="*/ 144 h 336"/>
                <a:gd name="T42" fmla="*/ 58 w 337"/>
                <a:gd name="T43" fmla="*/ 91 h 336"/>
                <a:gd name="T44" fmla="*/ 75 w 337"/>
                <a:gd name="T45" fmla="*/ 57 h 336"/>
                <a:gd name="T46" fmla="*/ 92 w 337"/>
                <a:gd name="T47" fmla="*/ 57 h 336"/>
                <a:gd name="T48" fmla="*/ 144 w 337"/>
                <a:gd name="T49" fmla="*/ 50 h 336"/>
                <a:gd name="T50" fmla="*/ 156 w 337"/>
                <a:gd name="T51" fmla="*/ 24 h 336"/>
                <a:gd name="T52" fmla="*/ 180 w 337"/>
                <a:gd name="T53" fmla="*/ 0 h 336"/>
                <a:gd name="T54" fmla="*/ 121 w 337"/>
                <a:gd name="T55" fmla="*/ 32 h 336"/>
                <a:gd name="T56" fmla="*/ 84 w 337"/>
                <a:gd name="T57" fmla="*/ 30 h 336"/>
                <a:gd name="T58" fmla="*/ 41 w 337"/>
                <a:gd name="T59" fmla="*/ 57 h 336"/>
                <a:gd name="T60" fmla="*/ 39 w 337"/>
                <a:gd name="T61" fmla="*/ 106 h 336"/>
                <a:gd name="T62" fmla="*/ 0 w 337"/>
                <a:gd name="T63" fmla="*/ 156 h 336"/>
                <a:gd name="T64" fmla="*/ 33 w 337"/>
                <a:gd name="T65" fmla="*/ 216 h 336"/>
                <a:gd name="T66" fmla="*/ 31 w 337"/>
                <a:gd name="T67" fmla="*/ 253 h 336"/>
                <a:gd name="T68" fmla="*/ 58 w 337"/>
                <a:gd name="T69" fmla="*/ 295 h 336"/>
                <a:gd name="T70" fmla="*/ 106 w 337"/>
                <a:gd name="T71" fmla="*/ 298 h 336"/>
                <a:gd name="T72" fmla="*/ 156 w 337"/>
                <a:gd name="T73" fmla="*/ 336 h 336"/>
                <a:gd name="T74" fmla="*/ 216 w 337"/>
                <a:gd name="T75" fmla="*/ 304 h 336"/>
                <a:gd name="T76" fmla="*/ 253 w 337"/>
                <a:gd name="T77" fmla="*/ 306 h 336"/>
                <a:gd name="T78" fmla="*/ 296 w 337"/>
                <a:gd name="T79" fmla="*/ 278 h 336"/>
                <a:gd name="T80" fmla="*/ 298 w 337"/>
                <a:gd name="T81" fmla="*/ 230 h 336"/>
                <a:gd name="T82" fmla="*/ 337 w 337"/>
                <a:gd name="T83" fmla="*/ 180 h 336"/>
                <a:gd name="T84" fmla="*/ 304 w 337"/>
                <a:gd name="T85" fmla="*/ 120 h 336"/>
                <a:gd name="T86" fmla="*/ 306 w 337"/>
                <a:gd name="T87" fmla="*/ 83 h 336"/>
                <a:gd name="T88" fmla="*/ 279 w 337"/>
                <a:gd name="T89" fmla="*/ 40 h 336"/>
                <a:gd name="T90" fmla="*/ 231 w 337"/>
                <a:gd name="T91" fmla="*/ 38 h 336"/>
                <a:gd name="T92" fmla="*/ 180 w 337"/>
                <a:gd name="T93"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7" h="336">
                  <a:moveTo>
                    <a:pt x="180" y="24"/>
                  </a:moveTo>
                  <a:cubicBezTo>
                    <a:pt x="187" y="24"/>
                    <a:pt x="192" y="29"/>
                    <a:pt x="192" y="36"/>
                  </a:cubicBezTo>
                  <a:cubicBezTo>
                    <a:pt x="192" y="50"/>
                    <a:pt x="192" y="50"/>
                    <a:pt x="192" y="50"/>
                  </a:cubicBezTo>
                  <a:cubicBezTo>
                    <a:pt x="208" y="53"/>
                    <a:pt x="222" y="60"/>
                    <a:pt x="234" y="68"/>
                  </a:cubicBezTo>
                  <a:cubicBezTo>
                    <a:pt x="245" y="57"/>
                    <a:pt x="245" y="57"/>
                    <a:pt x="245" y="57"/>
                  </a:cubicBezTo>
                  <a:cubicBezTo>
                    <a:pt x="247" y="55"/>
                    <a:pt x="250" y="54"/>
                    <a:pt x="253" y="54"/>
                  </a:cubicBezTo>
                  <a:cubicBezTo>
                    <a:pt x="256" y="54"/>
                    <a:pt x="260" y="55"/>
                    <a:pt x="262" y="57"/>
                  </a:cubicBezTo>
                  <a:cubicBezTo>
                    <a:pt x="279" y="74"/>
                    <a:pt x="279" y="74"/>
                    <a:pt x="279" y="74"/>
                  </a:cubicBezTo>
                  <a:cubicBezTo>
                    <a:pt x="284" y="79"/>
                    <a:pt x="284" y="87"/>
                    <a:pt x="279" y="91"/>
                  </a:cubicBezTo>
                  <a:cubicBezTo>
                    <a:pt x="268" y="102"/>
                    <a:pt x="268" y="102"/>
                    <a:pt x="268" y="102"/>
                  </a:cubicBezTo>
                  <a:cubicBezTo>
                    <a:pt x="277" y="114"/>
                    <a:pt x="283" y="129"/>
                    <a:pt x="286" y="144"/>
                  </a:cubicBezTo>
                  <a:cubicBezTo>
                    <a:pt x="301" y="144"/>
                    <a:pt x="301" y="144"/>
                    <a:pt x="301" y="144"/>
                  </a:cubicBezTo>
                  <a:cubicBezTo>
                    <a:pt x="307" y="144"/>
                    <a:pt x="313" y="149"/>
                    <a:pt x="313" y="156"/>
                  </a:cubicBezTo>
                  <a:cubicBezTo>
                    <a:pt x="313" y="180"/>
                    <a:pt x="313" y="180"/>
                    <a:pt x="313" y="180"/>
                  </a:cubicBezTo>
                  <a:cubicBezTo>
                    <a:pt x="313" y="187"/>
                    <a:pt x="307" y="192"/>
                    <a:pt x="301" y="192"/>
                  </a:cubicBezTo>
                  <a:cubicBezTo>
                    <a:pt x="286" y="192"/>
                    <a:pt x="286" y="192"/>
                    <a:pt x="286" y="192"/>
                  </a:cubicBezTo>
                  <a:cubicBezTo>
                    <a:pt x="283" y="207"/>
                    <a:pt x="277" y="221"/>
                    <a:pt x="268" y="234"/>
                  </a:cubicBezTo>
                  <a:cubicBezTo>
                    <a:pt x="279" y="244"/>
                    <a:pt x="279" y="244"/>
                    <a:pt x="279" y="244"/>
                  </a:cubicBezTo>
                  <a:cubicBezTo>
                    <a:pt x="284" y="249"/>
                    <a:pt x="284" y="257"/>
                    <a:pt x="279" y="261"/>
                  </a:cubicBezTo>
                  <a:cubicBezTo>
                    <a:pt x="262" y="278"/>
                    <a:pt x="262" y="278"/>
                    <a:pt x="262" y="278"/>
                  </a:cubicBezTo>
                  <a:cubicBezTo>
                    <a:pt x="260" y="281"/>
                    <a:pt x="256" y="282"/>
                    <a:pt x="253" y="282"/>
                  </a:cubicBezTo>
                  <a:cubicBezTo>
                    <a:pt x="250" y="282"/>
                    <a:pt x="247" y="281"/>
                    <a:pt x="245" y="278"/>
                  </a:cubicBezTo>
                  <a:cubicBezTo>
                    <a:pt x="234" y="268"/>
                    <a:pt x="234" y="268"/>
                    <a:pt x="234" y="268"/>
                  </a:cubicBezTo>
                  <a:cubicBezTo>
                    <a:pt x="222" y="276"/>
                    <a:pt x="208" y="282"/>
                    <a:pt x="192" y="286"/>
                  </a:cubicBezTo>
                  <a:cubicBezTo>
                    <a:pt x="192" y="300"/>
                    <a:pt x="192" y="300"/>
                    <a:pt x="192" y="300"/>
                  </a:cubicBezTo>
                  <a:cubicBezTo>
                    <a:pt x="192" y="307"/>
                    <a:pt x="187" y="312"/>
                    <a:pt x="180" y="312"/>
                  </a:cubicBezTo>
                  <a:cubicBezTo>
                    <a:pt x="156" y="312"/>
                    <a:pt x="156" y="312"/>
                    <a:pt x="156" y="312"/>
                  </a:cubicBezTo>
                  <a:cubicBezTo>
                    <a:pt x="150" y="312"/>
                    <a:pt x="144" y="307"/>
                    <a:pt x="144" y="300"/>
                  </a:cubicBezTo>
                  <a:cubicBezTo>
                    <a:pt x="144" y="286"/>
                    <a:pt x="144" y="286"/>
                    <a:pt x="144" y="286"/>
                  </a:cubicBezTo>
                  <a:cubicBezTo>
                    <a:pt x="129" y="282"/>
                    <a:pt x="115" y="276"/>
                    <a:pt x="102" y="268"/>
                  </a:cubicBezTo>
                  <a:cubicBezTo>
                    <a:pt x="92" y="278"/>
                    <a:pt x="92" y="278"/>
                    <a:pt x="92" y="278"/>
                  </a:cubicBezTo>
                  <a:cubicBezTo>
                    <a:pt x="90" y="281"/>
                    <a:pt x="87" y="282"/>
                    <a:pt x="84" y="282"/>
                  </a:cubicBezTo>
                  <a:cubicBezTo>
                    <a:pt x="80" y="282"/>
                    <a:pt x="77" y="281"/>
                    <a:pt x="75" y="278"/>
                  </a:cubicBezTo>
                  <a:cubicBezTo>
                    <a:pt x="58" y="261"/>
                    <a:pt x="58" y="261"/>
                    <a:pt x="58" y="261"/>
                  </a:cubicBezTo>
                  <a:cubicBezTo>
                    <a:pt x="53" y="257"/>
                    <a:pt x="53" y="249"/>
                    <a:pt x="58" y="244"/>
                  </a:cubicBezTo>
                  <a:cubicBezTo>
                    <a:pt x="69" y="234"/>
                    <a:pt x="69" y="234"/>
                    <a:pt x="69" y="234"/>
                  </a:cubicBezTo>
                  <a:cubicBezTo>
                    <a:pt x="60" y="221"/>
                    <a:pt x="54" y="207"/>
                    <a:pt x="51" y="192"/>
                  </a:cubicBezTo>
                  <a:cubicBezTo>
                    <a:pt x="36" y="192"/>
                    <a:pt x="36" y="192"/>
                    <a:pt x="36" y="192"/>
                  </a:cubicBezTo>
                  <a:cubicBezTo>
                    <a:pt x="30" y="192"/>
                    <a:pt x="24" y="187"/>
                    <a:pt x="24" y="180"/>
                  </a:cubicBezTo>
                  <a:cubicBezTo>
                    <a:pt x="24" y="156"/>
                    <a:pt x="24" y="156"/>
                    <a:pt x="24" y="156"/>
                  </a:cubicBezTo>
                  <a:cubicBezTo>
                    <a:pt x="24" y="149"/>
                    <a:pt x="30" y="144"/>
                    <a:pt x="36" y="144"/>
                  </a:cubicBezTo>
                  <a:cubicBezTo>
                    <a:pt x="51" y="144"/>
                    <a:pt x="51" y="144"/>
                    <a:pt x="51" y="144"/>
                  </a:cubicBezTo>
                  <a:cubicBezTo>
                    <a:pt x="54" y="129"/>
                    <a:pt x="60" y="114"/>
                    <a:pt x="69" y="102"/>
                  </a:cubicBezTo>
                  <a:cubicBezTo>
                    <a:pt x="58" y="91"/>
                    <a:pt x="58" y="91"/>
                    <a:pt x="58" y="91"/>
                  </a:cubicBezTo>
                  <a:cubicBezTo>
                    <a:pt x="53" y="87"/>
                    <a:pt x="53" y="79"/>
                    <a:pt x="58" y="74"/>
                  </a:cubicBezTo>
                  <a:cubicBezTo>
                    <a:pt x="75" y="57"/>
                    <a:pt x="75" y="57"/>
                    <a:pt x="75" y="57"/>
                  </a:cubicBezTo>
                  <a:cubicBezTo>
                    <a:pt x="77" y="55"/>
                    <a:pt x="80" y="54"/>
                    <a:pt x="84" y="54"/>
                  </a:cubicBezTo>
                  <a:cubicBezTo>
                    <a:pt x="87" y="54"/>
                    <a:pt x="90" y="55"/>
                    <a:pt x="92" y="57"/>
                  </a:cubicBezTo>
                  <a:cubicBezTo>
                    <a:pt x="102" y="68"/>
                    <a:pt x="102" y="68"/>
                    <a:pt x="102" y="68"/>
                  </a:cubicBezTo>
                  <a:cubicBezTo>
                    <a:pt x="115" y="60"/>
                    <a:pt x="129" y="53"/>
                    <a:pt x="144" y="50"/>
                  </a:cubicBezTo>
                  <a:cubicBezTo>
                    <a:pt x="144" y="36"/>
                    <a:pt x="144" y="36"/>
                    <a:pt x="144" y="36"/>
                  </a:cubicBezTo>
                  <a:cubicBezTo>
                    <a:pt x="144" y="29"/>
                    <a:pt x="150" y="24"/>
                    <a:pt x="156" y="24"/>
                  </a:cubicBezTo>
                  <a:cubicBezTo>
                    <a:pt x="180" y="24"/>
                    <a:pt x="180" y="24"/>
                    <a:pt x="180" y="24"/>
                  </a:cubicBezTo>
                  <a:moveTo>
                    <a:pt x="180" y="0"/>
                  </a:moveTo>
                  <a:cubicBezTo>
                    <a:pt x="156" y="0"/>
                    <a:pt x="156" y="0"/>
                    <a:pt x="156" y="0"/>
                  </a:cubicBezTo>
                  <a:cubicBezTo>
                    <a:pt x="138" y="0"/>
                    <a:pt x="123" y="14"/>
                    <a:pt x="121" y="32"/>
                  </a:cubicBezTo>
                  <a:cubicBezTo>
                    <a:pt x="116" y="34"/>
                    <a:pt x="111" y="36"/>
                    <a:pt x="106" y="38"/>
                  </a:cubicBezTo>
                  <a:cubicBezTo>
                    <a:pt x="100" y="33"/>
                    <a:pt x="92" y="30"/>
                    <a:pt x="84" y="30"/>
                  </a:cubicBezTo>
                  <a:cubicBezTo>
                    <a:pt x="74" y="30"/>
                    <a:pt x="65" y="34"/>
                    <a:pt x="58" y="40"/>
                  </a:cubicBezTo>
                  <a:cubicBezTo>
                    <a:pt x="41" y="57"/>
                    <a:pt x="41" y="57"/>
                    <a:pt x="41" y="57"/>
                  </a:cubicBezTo>
                  <a:cubicBezTo>
                    <a:pt x="34" y="64"/>
                    <a:pt x="31" y="73"/>
                    <a:pt x="31" y="83"/>
                  </a:cubicBezTo>
                  <a:cubicBezTo>
                    <a:pt x="31" y="91"/>
                    <a:pt x="33" y="99"/>
                    <a:pt x="39" y="106"/>
                  </a:cubicBezTo>
                  <a:cubicBezTo>
                    <a:pt x="36" y="110"/>
                    <a:pt x="34" y="115"/>
                    <a:pt x="33" y="120"/>
                  </a:cubicBezTo>
                  <a:cubicBezTo>
                    <a:pt x="15" y="122"/>
                    <a:pt x="0" y="137"/>
                    <a:pt x="0" y="156"/>
                  </a:cubicBezTo>
                  <a:cubicBezTo>
                    <a:pt x="0" y="180"/>
                    <a:pt x="0" y="180"/>
                    <a:pt x="0" y="180"/>
                  </a:cubicBezTo>
                  <a:cubicBezTo>
                    <a:pt x="0" y="199"/>
                    <a:pt x="15" y="214"/>
                    <a:pt x="33" y="216"/>
                  </a:cubicBezTo>
                  <a:cubicBezTo>
                    <a:pt x="34" y="221"/>
                    <a:pt x="36" y="225"/>
                    <a:pt x="39" y="230"/>
                  </a:cubicBezTo>
                  <a:cubicBezTo>
                    <a:pt x="33" y="236"/>
                    <a:pt x="31" y="244"/>
                    <a:pt x="31" y="253"/>
                  </a:cubicBezTo>
                  <a:cubicBezTo>
                    <a:pt x="31" y="262"/>
                    <a:pt x="34" y="271"/>
                    <a:pt x="41" y="278"/>
                  </a:cubicBezTo>
                  <a:cubicBezTo>
                    <a:pt x="58" y="295"/>
                    <a:pt x="58" y="295"/>
                    <a:pt x="58" y="295"/>
                  </a:cubicBezTo>
                  <a:cubicBezTo>
                    <a:pt x="65" y="302"/>
                    <a:pt x="74" y="306"/>
                    <a:pt x="84" y="306"/>
                  </a:cubicBezTo>
                  <a:cubicBezTo>
                    <a:pt x="92" y="306"/>
                    <a:pt x="100" y="303"/>
                    <a:pt x="106" y="298"/>
                  </a:cubicBezTo>
                  <a:cubicBezTo>
                    <a:pt x="111" y="300"/>
                    <a:pt x="116" y="302"/>
                    <a:pt x="121" y="304"/>
                  </a:cubicBezTo>
                  <a:cubicBezTo>
                    <a:pt x="123" y="322"/>
                    <a:pt x="138" y="336"/>
                    <a:pt x="156" y="336"/>
                  </a:cubicBezTo>
                  <a:cubicBezTo>
                    <a:pt x="180" y="336"/>
                    <a:pt x="180" y="336"/>
                    <a:pt x="180" y="336"/>
                  </a:cubicBezTo>
                  <a:cubicBezTo>
                    <a:pt x="199" y="336"/>
                    <a:pt x="214" y="322"/>
                    <a:pt x="216" y="304"/>
                  </a:cubicBezTo>
                  <a:cubicBezTo>
                    <a:pt x="221" y="302"/>
                    <a:pt x="226" y="300"/>
                    <a:pt x="231" y="298"/>
                  </a:cubicBezTo>
                  <a:cubicBezTo>
                    <a:pt x="237" y="303"/>
                    <a:pt x="245" y="306"/>
                    <a:pt x="253" y="306"/>
                  </a:cubicBezTo>
                  <a:cubicBezTo>
                    <a:pt x="263" y="306"/>
                    <a:pt x="272" y="302"/>
                    <a:pt x="279" y="295"/>
                  </a:cubicBezTo>
                  <a:cubicBezTo>
                    <a:pt x="296" y="278"/>
                    <a:pt x="296" y="278"/>
                    <a:pt x="296" y="278"/>
                  </a:cubicBezTo>
                  <a:cubicBezTo>
                    <a:pt x="303" y="271"/>
                    <a:pt x="306" y="262"/>
                    <a:pt x="306" y="253"/>
                  </a:cubicBezTo>
                  <a:cubicBezTo>
                    <a:pt x="306" y="244"/>
                    <a:pt x="304" y="236"/>
                    <a:pt x="298" y="230"/>
                  </a:cubicBezTo>
                  <a:cubicBezTo>
                    <a:pt x="301" y="225"/>
                    <a:pt x="303" y="221"/>
                    <a:pt x="304" y="216"/>
                  </a:cubicBezTo>
                  <a:cubicBezTo>
                    <a:pt x="322" y="214"/>
                    <a:pt x="337" y="199"/>
                    <a:pt x="337" y="180"/>
                  </a:cubicBezTo>
                  <a:cubicBezTo>
                    <a:pt x="337" y="156"/>
                    <a:pt x="337" y="156"/>
                    <a:pt x="337" y="156"/>
                  </a:cubicBezTo>
                  <a:cubicBezTo>
                    <a:pt x="337" y="137"/>
                    <a:pt x="322" y="122"/>
                    <a:pt x="304" y="120"/>
                  </a:cubicBezTo>
                  <a:cubicBezTo>
                    <a:pt x="303" y="115"/>
                    <a:pt x="301" y="110"/>
                    <a:pt x="298" y="106"/>
                  </a:cubicBezTo>
                  <a:cubicBezTo>
                    <a:pt x="304" y="99"/>
                    <a:pt x="306" y="91"/>
                    <a:pt x="306" y="83"/>
                  </a:cubicBezTo>
                  <a:cubicBezTo>
                    <a:pt x="306" y="73"/>
                    <a:pt x="303" y="64"/>
                    <a:pt x="296" y="57"/>
                  </a:cubicBezTo>
                  <a:cubicBezTo>
                    <a:pt x="279" y="40"/>
                    <a:pt x="279" y="40"/>
                    <a:pt x="279" y="40"/>
                  </a:cubicBezTo>
                  <a:cubicBezTo>
                    <a:pt x="272" y="34"/>
                    <a:pt x="263" y="30"/>
                    <a:pt x="253" y="30"/>
                  </a:cubicBezTo>
                  <a:cubicBezTo>
                    <a:pt x="245" y="30"/>
                    <a:pt x="237" y="33"/>
                    <a:pt x="231" y="38"/>
                  </a:cubicBezTo>
                  <a:cubicBezTo>
                    <a:pt x="226" y="36"/>
                    <a:pt x="221" y="34"/>
                    <a:pt x="216" y="32"/>
                  </a:cubicBezTo>
                  <a:cubicBezTo>
                    <a:pt x="214" y="14"/>
                    <a:pt x="199" y="0"/>
                    <a:pt x="180" y="0"/>
                  </a:cubicBezTo>
                  <a:close/>
                </a:path>
              </a:pathLst>
            </a:custGeom>
            <a:grpFill/>
            <a:ln w="9525">
              <a:solidFill>
                <a:schemeClr val="accent1">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sp>
          <p:nvSpPr>
            <p:cNvPr id="21" name="Freeform 7"/>
            <p:cNvSpPr>
              <a:spLocks noEditPoints="1"/>
            </p:cNvSpPr>
            <p:nvPr/>
          </p:nvSpPr>
          <p:spPr bwMode="auto">
            <a:xfrm>
              <a:off x="8675688" y="5180013"/>
              <a:ext cx="138113" cy="136525"/>
            </a:xfrm>
            <a:custGeom>
              <a:avLst/>
              <a:gdLst>
                <a:gd name="T0" fmla="*/ 78 w 157"/>
                <a:gd name="T1" fmla="*/ 156 h 156"/>
                <a:gd name="T2" fmla="*/ 0 w 157"/>
                <a:gd name="T3" fmla="*/ 78 h 156"/>
                <a:gd name="T4" fmla="*/ 78 w 157"/>
                <a:gd name="T5" fmla="*/ 0 h 156"/>
                <a:gd name="T6" fmla="*/ 157 w 157"/>
                <a:gd name="T7" fmla="*/ 78 h 156"/>
                <a:gd name="T8" fmla="*/ 78 w 157"/>
                <a:gd name="T9" fmla="*/ 156 h 156"/>
                <a:gd name="T10" fmla="*/ 78 w 157"/>
                <a:gd name="T11" fmla="*/ 12 h 156"/>
                <a:gd name="T12" fmla="*/ 12 w 157"/>
                <a:gd name="T13" fmla="*/ 78 h 156"/>
                <a:gd name="T14" fmla="*/ 78 w 157"/>
                <a:gd name="T15" fmla="*/ 144 h 156"/>
                <a:gd name="T16" fmla="*/ 145 w 157"/>
                <a:gd name="T17" fmla="*/ 78 h 156"/>
                <a:gd name="T18" fmla="*/ 78 w 157"/>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6">
                  <a:moveTo>
                    <a:pt x="78" y="156"/>
                  </a:moveTo>
                  <a:cubicBezTo>
                    <a:pt x="35" y="156"/>
                    <a:pt x="0" y="121"/>
                    <a:pt x="0" y="78"/>
                  </a:cubicBezTo>
                  <a:cubicBezTo>
                    <a:pt x="0" y="35"/>
                    <a:pt x="35" y="0"/>
                    <a:pt x="78" y="0"/>
                  </a:cubicBezTo>
                  <a:cubicBezTo>
                    <a:pt x="122" y="0"/>
                    <a:pt x="157" y="35"/>
                    <a:pt x="157" y="78"/>
                  </a:cubicBezTo>
                  <a:cubicBezTo>
                    <a:pt x="157" y="121"/>
                    <a:pt x="122" y="156"/>
                    <a:pt x="78" y="156"/>
                  </a:cubicBezTo>
                  <a:close/>
                  <a:moveTo>
                    <a:pt x="78" y="12"/>
                  </a:moveTo>
                  <a:cubicBezTo>
                    <a:pt x="42" y="12"/>
                    <a:pt x="12" y="41"/>
                    <a:pt x="12" y="78"/>
                  </a:cubicBezTo>
                  <a:cubicBezTo>
                    <a:pt x="12" y="114"/>
                    <a:pt x="42" y="144"/>
                    <a:pt x="78" y="144"/>
                  </a:cubicBezTo>
                  <a:cubicBezTo>
                    <a:pt x="115" y="144"/>
                    <a:pt x="145" y="114"/>
                    <a:pt x="145" y="78"/>
                  </a:cubicBezTo>
                  <a:cubicBezTo>
                    <a:pt x="145" y="41"/>
                    <a:pt x="115" y="12"/>
                    <a:pt x="78" y="12"/>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sp>
          <p:nvSpPr>
            <p:cNvPr id="22" name="Freeform 8"/>
            <p:cNvSpPr>
              <a:spLocks noEditPoints="1"/>
            </p:cNvSpPr>
            <p:nvPr/>
          </p:nvSpPr>
          <p:spPr bwMode="auto">
            <a:xfrm>
              <a:off x="8707438" y="5211763"/>
              <a:ext cx="74613" cy="73025"/>
            </a:xfrm>
            <a:custGeom>
              <a:avLst/>
              <a:gdLst>
                <a:gd name="T0" fmla="*/ 42 w 85"/>
                <a:gd name="T1" fmla="*/ 84 h 84"/>
                <a:gd name="T2" fmla="*/ 0 w 85"/>
                <a:gd name="T3" fmla="*/ 42 h 84"/>
                <a:gd name="T4" fmla="*/ 42 w 85"/>
                <a:gd name="T5" fmla="*/ 0 h 84"/>
                <a:gd name="T6" fmla="*/ 85 w 85"/>
                <a:gd name="T7" fmla="*/ 42 h 84"/>
                <a:gd name="T8" fmla="*/ 42 w 85"/>
                <a:gd name="T9" fmla="*/ 84 h 84"/>
                <a:gd name="T10" fmla="*/ 42 w 85"/>
                <a:gd name="T11" fmla="*/ 12 h 84"/>
                <a:gd name="T12" fmla="*/ 12 w 85"/>
                <a:gd name="T13" fmla="*/ 42 h 84"/>
                <a:gd name="T14" fmla="*/ 42 w 85"/>
                <a:gd name="T15" fmla="*/ 72 h 84"/>
                <a:gd name="T16" fmla="*/ 73 w 85"/>
                <a:gd name="T17" fmla="*/ 42 h 84"/>
                <a:gd name="T18" fmla="*/ 42 w 85"/>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42" y="84"/>
                  </a:moveTo>
                  <a:cubicBezTo>
                    <a:pt x="19" y="84"/>
                    <a:pt x="0" y="65"/>
                    <a:pt x="0" y="42"/>
                  </a:cubicBezTo>
                  <a:cubicBezTo>
                    <a:pt x="0" y="19"/>
                    <a:pt x="19" y="0"/>
                    <a:pt x="42" y="0"/>
                  </a:cubicBezTo>
                  <a:cubicBezTo>
                    <a:pt x="66" y="0"/>
                    <a:pt x="85" y="19"/>
                    <a:pt x="85" y="42"/>
                  </a:cubicBezTo>
                  <a:cubicBezTo>
                    <a:pt x="85" y="65"/>
                    <a:pt x="66" y="84"/>
                    <a:pt x="42" y="84"/>
                  </a:cubicBezTo>
                  <a:close/>
                  <a:moveTo>
                    <a:pt x="42" y="12"/>
                  </a:moveTo>
                  <a:cubicBezTo>
                    <a:pt x="26" y="12"/>
                    <a:pt x="12" y="25"/>
                    <a:pt x="12" y="42"/>
                  </a:cubicBezTo>
                  <a:cubicBezTo>
                    <a:pt x="12" y="58"/>
                    <a:pt x="26" y="72"/>
                    <a:pt x="42" y="72"/>
                  </a:cubicBezTo>
                  <a:cubicBezTo>
                    <a:pt x="59" y="72"/>
                    <a:pt x="73" y="58"/>
                    <a:pt x="73" y="42"/>
                  </a:cubicBezTo>
                  <a:cubicBezTo>
                    <a:pt x="73" y="25"/>
                    <a:pt x="59" y="12"/>
                    <a:pt x="42" y="12"/>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sp>
          <p:nvSpPr>
            <p:cNvPr id="23" name="Freeform 9"/>
            <p:cNvSpPr>
              <a:spLocks noEditPoints="1"/>
            </p:cNvSpPr>
            <p:nvPr/>
          </p:nvSpPr>
          <p:spPr bwMode="auto">
            <a:xfrm>
              <a:off x="8416926" y="5081588"/>
              <a:ext cx="187325" cy="187325"/>
            </a:xfrm>
            <a:custGeom>
              <a:avLst/>
              <a:gdLst>
                <a:gd name="T0" fmla="*/ 121 w 213"/>
                <a:gd name="T1" fmla="*/ 23 h 213"/>
                <a:gd name="T2" fmla="*/ 148 w 213"/>
                <a:gd name="T3" fmla="*/ 44 h 213"/>
                <a:gd name="T4" fmla="*/ 160 w 213"/>
                <a:gd name="T5" fmla="*/ 35 h 213"/>
                <a:gd name="T6" fmla="*/ 176 w 213"/>
                <a:gd name="T7" fmla="*/ 48 h 213"/>
                <a:gd name="T8" fmla="*/ 170 w 213"/>
                <a:gd name="T9" fmla="*/ 65 h 213"/>
                <a:gd name="T10" fmla="*/ 190 w 213"/>
                <a:gd name="T11" fmla="*/ 92 h 213"/>
                <a:gd name="T12" fmla="*/ 198 w 213"/>
                <a:gd name="T13" fmla="*/ 115 h 213"/>
                <a:gd name="T14" fmla="*/ 181 w 213"/>
                <a:gd name="T15" fmla="*/ 122 h 213"/>
                <a:gd name="T16" fmla="*/ 176 w 213"/>
                <a:gd name="T17" fmla="*/ 155 h 213"/>
                <a:gd name="T18" fmla="*/ 165 w 213"/>
                <a:gd name="T19" fmla="*/ 177 h 213"/>
                <a:gd name="T20" fmla="*/ 155 w 213"/>
                <a:gd name="T21" fmla="*/ 177 h 213"/>
                <a:gd name="T22" fmla="*/ 121 w 213"/>
                <a:gd name="T23" fmla="*/ 182 h 213"/>
                <a:gd name="T24" fmla="*/ 114 w 213"/>
                <a:gd name="T25" fmla="*/ 198 h 213"/>
                <a:gd name="T26" fmla="*/ 91 w 213"/>
                <a:gd name="T27" fmla="*/ 191 h 213"/>
                <a:gd name="T28" fmla="*/ 64 w 213"/>
                <a:gd name="T29" fmla="*/ 170 h 213"/>
                <a:gd name="T30" fmla="*/ 52 w 213"/>
                <a:gd name="T31" fmla="*/ 179 h 213"/>
                <a:gd name="T32" fmla="*/ 36 w 213"/>
                <a:gd name="T33" fmla="*/ 166 h 213"/>
                <a:gd name="T34" fmla="*/ 43 w 213"/>
                <a:gd name="T35" fmla="*/ 149 h 213"/>
                <a:gd name="T36" fmla="*/ 22 w 213"/>
                <a:gd name="T37" fmla="*/ 122 h 213"/>
                <a:gd name="T38" fmla="*/ 15 w 213"/>
                <a:gd name="T39" fmla="*/ 99 h 213"/>
                <a:gd name="T40" fmla="*/ 32 w 213"/>
                <a:gd name="T41" fmla="*/ 92 h 213"/>
                <a:gd name="T42" fmla="*/ 36 w 213"/>
                <a:gd name="T43" fmla="*/ 59 h 213"/>
                <a:gd name="T44" fmla="*/ 47 w 213"/>
                <a:gd name="T45" fmla="*/ 37 h 213"/>
                <a:gd name="T46" fmla="*/ 58 w 213"/>
                <a:gd name="T47" fmla="*/ 37 h 213"/>
                <a:gd name="T48" fmla="*/ 91 w 213"/>
                <a:gd name="T49" fmla="*/ 32 h 213"/>
                <a:gd name="T50" fmla="*/ 99 w 213"/>
                <a:gd name="T51" fmla="*/ 16 h 213"/>
                <a:gd name="T52" fmla="*/ 114 w 213"/>
                <a:gd name="T53" fmla="*/ 0 h 213"/>
                <a:gd name="T54" fmla="*/ 76 w 213"/>
                <a:gd name="T55" fmla="*/ 21 h 213"/>
                <a:gd name="T56" fmla="*/ 52 w 213"/>
                <a:gd name="T57" fmla="*/ 20 h 213"/>
                <a:gd name="T58" fmla="*/ 25 w 213"/>
                <a:gd name="T59" fmla="*/ 37 h 213"/>
                <a:gd name="T60" fmla="*/ 24 w 213"/>
                <a:gd name="T61" fmla="*/ 68 h 213"/>
                <a:gd name="T62" fmla="*/ 0 w 213"/>
                <a:gd name="T63" fmla="*/ 99 h 213"/>
                <a:gd name="T64" fmla="*/ 20 w 213"/>
                <a:gd name="T65" fmla="*/ 137 h 213"/>
                <a:gd name="T66" fmla="*/ 19 w 213"/>
                <a:gd name="T67" fmla="*/ 161 h 213"/>
                <a:gd name="T68" fmla="*/ 36 w 213"/>
                <a:gd name="T69" fmla="*/ 188 h 213"/>
                <a:gd name="T70" fmla="*/ 67 w 213"/>
                <a:gd name="T71" fmla="*/ 189 h 213"/>
                <a:gd name="T72" fmla="*/ 99 w 213"/>
                <a:gd name="T73" fmla="*/ 213 h 213"/>
                <a:gd name="T74" fmla="*/ 137 w 213"/>
                <a:gd name="T75" fmla="*/ 193 h 213"/>
                <a:gd name="T76" fmla="*/ 160 w 213"/>
                <a:gd name="T77" fmla="*/ 194 h 213"/>
                <a:gd name="T78" fmla="*/ 187 w 213"/>
                <a:gd name="T79" fmla="*/ 177 h 213"/>
                <a:gd name="T80" fmla="*/ 188 w 213"/>
                <a:gd name="T81" fmla="*/ 146 h 213"/>
                <a:gd name="T82" fmla="*/ 213 w 213"/>
                <a:gd name="T83" fmla="*/ 115 h 213"/>
                <a:gd name="T84" fmla="*/ 192 w 213"/>
                <a:gd name="T85" fmla="*/ 77 h 213"/>
                <a:gd name="T86" fmla="*/ 194 w 213"/>
                <a:gd name="T87" fmla="*/ 53 h 213"/>
                <a:gd name="T88" fmla="*/ 176 w 213"/>
                <a:gd name="T89" fmla="*/ 26 h 213"/>
                <a:gd name="T90" fmla="*/ 146 w 213"/>
                <a:gd name="T91" fmla="*/ 25 h 213"/>
                <a:gd name="T92" fmla="*/ 114 w 213"/>
                <a:gd name="T93"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213">
                  <a:moveTo>
                    <a:pt x="114" y="16"/>
                  </a:moveTo>
                  <a:cubicBezTo>
                    <a:pt x="118" y="16"/>
                    <a:pt x="121" y="19"/>
                    <a:pt x="121" y="23"/>
                  </a:cubicBezTo>
                  <a:cubicBezTo>
                    <a:pt x="121" y="32"/>
                    <a:pt x="121" y="32"/>
                    <a:pt x="121" y="32"/>
                  </a:cubicBezTo>
                  <a:cubicBezTo>
                    <a:pt x="131" y="34"/>
                    <a:pt x="140" y="38"/>
                    <a:pt x="148" y="44"/>
                  </a:cubicBezTo>
                  <a:cubicBezTo>
                    <a:pt x="155" y="37"/>
                    <a:pt x="155" y="37"/>
                    <a:pt x="155" y="37"/>
                  </a:cubicBezTo>
                  <a:cubicBezTo>
                    <a:pt x="156" y="35"/>
                    <a:pt x="158" y="35"/>
                    <a:pt x="160" y="35"/>
                  </a:cubicBezTo>
                  <a:cubicBezTo>
                    <a:pt x="162" y="35"/>
                    <a:pt x="164" y="35"/>
                    <a:pt x="165" y="37"/>
                  </a:cubicBezTo>
                  <a:cubicBezTo>
                    <a:pt x="176" y="48"/>
                    <a:pt x="176" y="48"/>
                    <a:pt x="176" y="48"/>
                  </a:cubicBezTo>
                  <a:cubicBezTo>
                    <a:pt x="179" y="51"/>
                    <a:pt x="179" y="56"/>
                    <a:pt x="176" y="59"/>
                  </a:cubicBezTo>
                  <a:cubicBezTo>
                    <a:pt x="170" y="65"/>
                    <a:pt x="170" y="65"/>
                    <a:pt x="170" y="65"/>
                  </a:cubicBezTo>
                  <a:cubicBezTo>
                    <a:pt x="175" y="73"/>
                    <a:pt x="179" y="82"/>
                    <a:pt x="181" y="92"/>
                  </a:cubicBezTo>
                  <a:cubicBezTo>
                    <a:pt x="190" y="92"/>
                    <a:pt x="190" y="92"/>
                    <a:pt x="190" y="92"/>
                  </a:cubicBezTo>
                  <a:cubicBezTo>
                    <a:pt x="194" y="92"/>
                    <a:pt x="198" y="95"/>
                    <a:pt x="198" y="99"/>
                  </a:cubicBezTo>
                  <a:cubicBezTo>
                    <a:pt x="198" y="115"/>
                    <a:pt x="198" y="115"/>
                    <a:pt x="198" y="115"/>
                  </a:cubicBezTo>
                  <a:cubicBezTo>
                    <a:pt x="198" y="119"/>
                    <a:pt x="194" y="122"/>
                    <a:pt x="190" y="122"/>
                  </a:cubicBezTo>
                  <a:cubicBezTo>
                    <a:pt x="181" y="122"/>
                    <a:pt x="181" y="122"/>
                    <a:pt x="181" y="122"/>
                  </a:cubicBezTo>
                  <a:cubicBezTo>
                    <a:pt x="179" y="132"/>
                    <a:pt x="175" y="141"/>
                    <a:pt x="170" y="149"/>
                  </a:cubicBezTo>
                  <a:cubicBezTo>
                    <a:pt x="176" y="155"/>
                    <a:pt x="176" y="155"/>
                    <a:pt x="176" y="155"/>
                  </a:cubicBezTo>
                  <a:cubicBezTo>
                    <a:pt x="179" y="158"/>
                    <a:pt x="179" y="163"/>
                    <a:pt x="176" y="166"/>
                  </a:cubicBezTo>
                  <a:cubicBezTo>
                    <a:pt x="165" y="177"/>
                    <a:pt x="165" y="177"/>
                    <a:pt x="165" y="177"/>
                  </a:cubicBezTo>
                  <a:cubicBezTo>
                    <a:pt x="164" y="178"/>
                    <a:pt x="162" y="179"/>
                    <a:pt x="160" y="179"/>
                  </a:cubicBezTo>
                  <a:cubicBezTo>
                    <a:pt x="158" y="179"/>
                    <a:pt x="156" y="178"/>
                    <a:pt x="155" y="177"/>
                  </a:cubicBezTo>
                  <a:cubicBezTo>
                    <a:pt x="148" y="170"/>
                    <a:pt x="148" y="170"/>
                    <a:pt x="148" y="170"/>
                  </a:cubicBezTo>
                  <a:cubicBezTo>
                    <a:pt x="140" y="176"/>
                    <a:pt x="131" y="180"/>
                    <a:pt x="121" y="182"/>
                  </a:cubicBezTo>
                  <a:cubicBezTo>
                    <a:pt x="121" y="191"/>
                    <a:pt x="121" y="191"/>
                    <a:pt x="121" y="191"/>
                  </a:cubicBezTo>
                  <a:cubicBezTo>
                    <a:pt x="121" y="195"/>
                    <a:pt x="118" y="198"/>
                    <a:pt x="114" y="198"/>
                  </a:cubicBezTo>
                  <a:cubicBezTo>
                    <a:pt x="99" y="198"/>
                    <a:pt x="99" y="198"/>
                    <a:pt x="99" y="198"/>
                  </a:cubicBezTo>
                  <a:cubicBezTo>
                    <a:pt x="94" y="198"/>
                    <a:pt x="91" y="195"/>
                    <a:pt x="91" y="191"/>
                  </a:cubicBezTo>
                  <a:cubicBezTo>
                    <a:pt x="91" y="182"/>
                    <a:pt x="91" y="182"/>
                    <a:pt x="91" y="182"/>
                  </a:cubicBezTo>
                  <a:cubicBezTo>
                    <a:pt x="81" y="180"/>
                    <a:pt x="72" y="176"/>
                    <a:pt x="64" y="170"/>
                  </a:cubicBezTo>
                  <a:cubicBezTo>
                    <a:pt x="58" y="177"/>
                    <a:pt x="58" y="177"/>
                    <a:pt x="58" y="177"/>
                  </a:cubicBezTo>
                  <a:cubicBezTo>
                    <a:pt x="56" y="178"/>
                    <a:pt x="54" y="179"/>
                    <a:pt x="52" y="179"/>
                  </a:cubicBezTo>
                  <a:cubicBezTo>
                    <a:pt x="50" y="179"/>
                    <a:pt x="48" y="178"/>
                    <a:pt x="47" y="177"/>
                  </a:cubicBezTo>
                  <a:cubicBezTo>
                    <a:pt x="36" y="166"/>
                    <a:pt x="36" y="166"/>
                    <a:pt x="36" y="166"/>
                  </a:cubicBezTo>
                  <a:cubicBezTo>
                    <a:pt x="33" y="163"/>
                    <a:pt x="33" y="158"/>
                    <a:pt x="36" y="155"/>
                  </a:cubicBezTo>
                  <a:cubicBezTo>
                    <a:pt x="43" y="149"/>
                    <a:pt x="43" y="149"/>
                    <a:pt x="43" y="149"/>
                  </a:cubicBezTo>
                  <a:cubicBezTo>
                    <a:pt x="38" y="141"/>
                    <a:pt x="34" y="132"/>
                    <a:pt x="32" y="122"/>
                  </a:cubicBezTo>
                  <a:cubicBezTo>
                    <a:pt x="22" y="122"/>
                    <a:pt x="22" y="122"/>
                    <a:pt x="22" y="122"/>
                  </a:cubicBezTo>
                  <a:cubicBezTo>
                    <a:pt x="18" y="122"/>
                    <a:pt x="15" y="119"/>
                    <a:pt x="15" y="115"/>
                  </a:cubicBezTo>
                  <a:cubicBezTo>
                    <a:pt x="15" y="99"/>
                    <a:pt x="15" y="99"/>
                    <a:pt x="15" y="99"/>
                  </a:cubicBezTo>
                  <a:cubicBezTo>
                    <a:pt x="15" y="95"/>
                    <a:pt x="18" y="92"/>
                    <a:pt x="22" y="92"/>
                  </a:cubicBezTo>
                  <a:cubicBezTo>
                    <a:pt x="32" y="92"/>
                    <a:pt x="32" y="92"/>
                    <a:pt x="32" y="92"/>
                  </a:cubicBezTo>
                  <a:cubicBezTo>
                    <a:pt x="34" y="82"/>
                    <a:pt x="38" y="73"/>
                    <a:pt x="43" y="65"/>
                  </a:cubicBezTo>
                  <a:cubicBezTo>
                    <a:pt x="36" y="59"/>
                    <a:pt x="36" y="59"/>
                    <a:pt x="36" y="59"/>
                  </a:cubicBezTo>
                  <a:cubicBezTo>
                    <a:pt x="33" y="56"/>
                    <a:pt x="33" y="51"/>
                    <a:pt x="36" y="48"/>
                  </a:cubicBezTo>
                  <a:cubicBezTo>
                    <a:pt x="47" y="37"/>
                    <a:pt x="47" y="37"/>
                    <a:pt x="47" y="37"/>
                  </a:cubicBezTo>
                  <a:cubicBezTo>
                    <a:pt x="48" y="35"/>
                    <a:pt x="50" y="35"/>
                    <a:pt x="52" y="35"/>
                  </a:cubicBezTo>
                  <a:cubicBezTo>
                    <a:pt x="54" y="35"/>
                    <a:pt x="56" y="35"/>
                    <a:pt x="58" y="37"/>
                  </a:cubicBezTo>
                  <a:cubicBezTo>
                    <a:pt x="64" y="44"/>
                    <a:pt x="64" y="44"/>
                    <a:pt x="64" y="44"/>
                  </a:cubicBezTo>
                  <a:cubicBezTo>
                    <a:pt x="72" y="38"/>
                    <a:pt x="81" y="34"/>
                    <a:pt x="91" y="32"/>
                  </a:cubicBezTo>
                  <a:cubicBezTo>
                    <a:pt x="91" y="23"/>
                    <a:pt x="91" y="23"/>
                    <a:pt x="91" y="23"/>
                  </a:cubicBezTo>
                  <a:cubicBezTo>
                    <a:pt x="91" y="19"/>
                    <a:pt x="94" y="16"/>
                    <a:pt x="99" y="16"/>
                  </a:cubicBezTo>
                  <a:cubicBezTo>
                    <a:pt x="114" y="16"/>
                    <a:pt x="114" y="16"/>
                    <a:pt x="114" y="16"/>
                  </a:cubicBezTo>
                  <a:moveTo>
                    <a:pt x="114" y="0"/>
                  </a:moveTo>
                  <a:cubicBezTo>
                    <a:pt x="99" y="0"/>
                    <a:pt x="99" y="0"/>
                    <a:pt x="99" y="0"/>
                  </a:cubicBezTo>
                  <a:cubicBezTo>
                    <a:pt x="87" y="0"/>
                    <a:pt x="77" y="9"/>
                    <a:pt x="76" y="21"/>
                  </a:cubicBezTo>
                  <a:cubicBezTo>
                    <a:pt x="73" y="22"/>
                    <a:pt x="70" y="23"/>
                    <a:pt x="67" y="25"/>
                  </a:cubicBezTo>
                  <a:cubicBezTo>
                    <a:pt x="63" y="21"/>
                    <a:pt x="58" y="20"/>
                    <a:pt x="52" y="20"/>
                  </a:cubicBezTo>
                  <a:cubicBezTo>
                    <a:pt x="46" y="20"/>
                    <a:pt x="41" y="22"/>
                    <a:pt x="36" y="26"/>
                  </a:cubicBezTo>
                  <a:cubicBezTo>
                    <a:pt x="25" y="37"/>
                    <a:pt x="25" y="37"/>
                    <a:pt x="25" y="37"/>
                  </a:cubicBezTo>
                  <a:cubicBezTo>
                    <a:pt x="21" y="41"/>
                    <a:pt x="19" y="47"/>
                    <a:pt x="19" y="53"/>
                  </a:cubicBezTo>
                  <a:cubicBezTo>
                    <a:pt x="19" y="58"/>
                    <a:pt x="21" y="64"/>
                    <a:pt x="24" y="68"/>
                  </a:cubicBezTo>
                  <a:cubicBezTo>
                    <a:pt x="23" y="71"/>
                    <a:pt x="21" y="74"/>
                    <a:pt x="20" y="77"/>
                  </a:cubicBezTo>
                  <a:cubicBezTo>
                    <a:pt x="9" y="78"/>
                    <a:pt x="0" y="88"/>
                    <a:pt x="0" y="99"/>
                  </a:cubicBezTo>
                  <a:cubicBezTo>
                    <a:pt x="0" y="115"/>
                    <a:pt x="0" y="115"/>
                    <a:pt x="0" y="115"/>
                  </a:cubicBezTo>
                  <a:cubicBezTo>
                    <a:pt x="0" y="126"/>
                    <a:pt x="9" y="136"/>
                    <a:pt x="20" y="137"/>
                  </a:cubicBezTo>
                  <a:cubicBezTo>
                    <a:pt x="21" y="140"/>
                    <a:pt x="23" y="143"/>
                    <a:pt x="24" y="146"/>
                  </a:cubicBezTo>
                  <a:cubicBezTo>
                    <a:pt x="21" y="150"/>
                    <a:pt x="19" y="155"/>
                    <a:pt x="19" y="161"/>
                  </a:cubicBezTo>
                  <a:cubicBezTo>
                    <a:pt x="19" y="167"/>
                    <a:pt x="21" y="173"/>
                    <a:pt x="25" y="177"/>
                  </a:cubicBezTo>
                  <a:cubicBezTo>
                    <a:pt x="36" y="188"/>
                    <a:pt x="36" y="188"/>
                    <a:pt x="36" y="188"/>
                  </a:cubicBezTo>
                  <a:cubicBezTo>
                    <a:pt x="41" y="192"/>
                    <a:pt x="46" y="194"/>
                    <a:pt x="52" y="194"/>
                  </a:cubicBezTo>
                  <a:cubicBezTo>
                    <a:pt x="58" y="194"/>
                    <a:pt x="63" y="193"/>
                    <a:pt x="67" y="189"/>
                  </a:cubicBezTo>
                  <a:cubicBezTo>
                    <a:pt x="70" y="191"/>
                    <a:pt x="73" y="192"/>
                    <a:pt x="76" y="193"/>
                  </a:cubicBezTo>
                  <a:cubicBezTo>
                    <a:pt x="77" y="205"/>
                    <a:pt x="87" y="213"/>
                    <a:pt x="99" y="213"/>
                  </a:cubicBezTo>
                  <a:cubicBezTo>
                    <a:pt x="114" y="213"/>
                    <a:pt x="114" y="213"/>
                    <a:pt x="114" y="213"/>
                  </a:cubicBezTo>
                  <a:cubicBezTo>
                    <a:pt x="126" y="213"/>
                    <a:pt x="135" y="205"/>
                    <a:pt x="137" y="193"/>
                  </a:cubicBezTo>
                  <a:cubicBezTo>
                    <a:pt x="140" y="192"/>
                    <a:pt x="143" y="191"/>
                    <a:pt x="146" y="189"/>
                  </a:cubicBezTo>
                  <a:cubicBezTo>
                    <a:pt x="150" y="193"/>
                    <a:pt x="155" y="194"/>
                    <a:pt x="160" y="194"/>
                  </a:cubicBezTo>
                  <a:cubicBezTo>
                    <a:pt x="166" y="194"/>
                    <a:pt x="172" y="192"/>
                    <a:pt x="176" y="188"/>
                  </a:cubicBezTo>
                  <a:cubicBezTo>
                    <a:pt x="187" y="177"/>
                    <a:pt x="187" y="177"/>
                    <a:pt x="187" y="177"/>
                  </a:cubicBezTo>
                  <a:cubicBezTo>
                    <a:pt x="191" y="173"/>
                    <a:pt x="194" y="167"/>
                    <a:pt x="194" y="161"/>
                  </a:cubicBezTo>
                  <a:cubicBezTo>
                    <a:pt x="194" y="155"/>
                    <a:pt x="192" y="150"/>
                    <a:pt x="188" y="146"/>
                  </a:cubicBezTo>
                  <a:cubicBezTo>
                    <a:pt x="190" y="143"/>
                    <a:pt x="191" y="140"/>
                    <a:pt x="192" y="137"/>
                  </a:cubicBezTo>
                  <a:cubicBezTo>
                    <a:pt x="204" y="136"/>
                    <a:pt x="213" y="126"/>
                    <a:pt x="213" y="115"/>
                  </a:cubicBezTo>
                  <a:cubicBezTo>
                    <a:pt x="213" y="99"/>
                    <a:pt x="213" y="99"/>
                    <a:pt x="213" y="99"/>
                  </a:cubicBezTo>
                  <a:cubicBezTo>
                    <a:pt x="213" y="88"/>
                    <a:pt x="204" y="78"/>
                    <a:pt x="192" y="77"/>
                  </a:cubicBezTo>
                  <a:cubicBezTo>
                    <a:pt x="191" y="74"/>
                    <a:pt x="190" y="71"/>
                    <a:pt x="188" y="68"/>
                  </a:cubicBezTo>
                  <a:cubicBezTo>
                    <a:pt x="192" y="64"/>
                    <a:pt x="194" y="58"/>
                    <a:pt x="194" y="53"/>
                  </a:cubicBezTo>
                  <a:cubicBezTo>
                    <a:pt x="194" y="47"/>
                    <a:pt x="191" y="41"/>
                    <a:pt x="187" y="37"/>
                  </a:cubicBezTo>
                  <a:cubicBezTo>
                    <a:pt x="176" y="26"/>
                    <a:pt x="176" y="26"/>
                    <a:pt x="176" y="26"/>
                  </a:cubicBezTo>
                  <a:cubicBezTo>
                    <a:pt x="172" y="22"/>
                    <a:pt x="166" y="20"/>
                    <a:pt x="160" y="20"/>
                  </a:cubicBezTo>
                  <a:cubicBezTo>
                    <a:pt x="155" y="20"/>
                    <a:pt x="150" y="21"/>
                    <a:pt x="146" y="25"/>
                  </a:cubicBezTo>
                  <a:cubicBezTo>
                    <a:pt x="143" y="23"/>
                    <a:pt x="140" y="22"/>
                    <a:pt x="137" y="21"/>
                  </a:cubicBezTo>
                  <a:cubicBezTo>
                    <a:pt x="135" y="9"/>
                    <a:pt x="126" y="0"/>
                    <a:pt x="114" y="0"/>
                  </a:cubicBezTo>
                  <a:close/>
                </a:path>
              </a:pathLst>
            </a:custGeom>
            <a:grpFill/>
            <a:ln w="9525">
              <a:solidFill>
                <a:schemeClr val="accent1">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sp>
          <p:nvSpPr>
            <p:cNvPr id="24" name="Freeform 10"/>
            <p:cNvSpPr>
              <a:spLocks noEditPoints="1"/>
            </p:cNvSpPr>
            <p:nvPr/>
          </p:nvSpPr>
          <p:spPr bwMode="auto">
            <a:xfrm>
              <a:off x="8467726" y="5132388"/>
              <a:ext cx="87313" cy="85725"/>
            </a:xfrm>
            <a:custGeom>
              <a:avLst/>
              <a:gdLst>
                <a:gd name="T0" fmla="*/ 49 w 99"/>
                <a:gd name="T1" fmla="*/ 99 h 99"/>
                <a:gd name="T2" fmla="*/ 0 w 99"/>
                <a:gd name="T3" fmla="*/ 50 h 99"/>
                <a:gd name="T4" fmla="*/ 49 w 99"/>
                <a:gd name="T5" fmla="*/ 0 h 99"/>
                <a:gd name="T6" fmla="*/ 99 w 99"/>
                <a:gd name="T7" fmla="*/ 50 h 99"/>
                <a:gd name="T8" fmla="*/ 49 w 99"/>
                <a:gd name="T9" fmla="*/ 99 h 99"/>
                <a:gd name="T10" fmla="*/ 49 w 99"/>
                <a:gd name="T11" fmla="*/ 8 h 99"/>
                <a:gd name="T12" fmla="*/ 7 w 99"/>
                <a:gd name="T13" fmla="*/ 50 h 99"/>
                <a:gd name="T14" fmla="*/ 49 w 99"/>
                <a:gd name="T15" fmla="*/ 92 h 99"/>
                <a:gd name="T16" fmla="*/ 91 w 99"/>
                <a:gd name="T17" fmla="*/ 50 h 99"/>
                <a:gd name="T18" fmla="*/ 49 w 99"/>
                <a:gd name="T19" fmla="*/ 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49" y="99"/>
                  </a:moveTo>
                  <a:cubicBezTo>
                    <a:pt x="22" y="99"/>
                    <a:pt x="0" y="77"/>
                    <a:pt x="0" y="50"/>
                  </a:cubicBezTo>
                  <a:cubicBezTo>
                    <a:pt x="0" y="23"/>
                    <a:pt x="22" y="0"/>
                    <a:pt x="49" y="0"/>
                  </a:cubicBezTo>
                  <a:cubicBezTo>
                    <a:pt x="76" y="0"/>
                    <a:pt x="99" y="23"/>
                    <a:pt x="99" y="50"/>
                  </a:cubicBezTo>
                  <a:cubicBezTo>
                    <a:pt x="99" y="77"/>
                    <a:pt x="76" y="99"/>
                    <a:pt x="49" y="99"/>
                  </a:cubicBezTo>
                  <a:close/>
                  <a:moveTo>
                    <a:pt x="49" y="8"/>
                  </a:moveTo>
                  <a:cubicBezTo>
                    <a:pt x="26" y="8"/>
                    <a:pt x="7" y="27"/>
                    <a:pt x="7" y="50"/>
                  </a:cubicBezTo>
                  <a:cubicBezTo>
                    <a:pt x="7" y="73"/>
                    <a:pt x="26" y="92"/>
                    <a:pt x="49" y="92"/>
                  </a:cubicBezTo>
                  <a:cubicBezTo>
                    <a:pt x="72" y="92"/>
                    <a:pt x="91" y="73"/>
                    <a:pt x="91" y="50"/>
                  </a:cubicBezTo>
                  <a:cubicBezTo>
                    <a:pt x="91" y="27"/>
                    <a:pt x="72" y="8"/>
                    <a:pt x="49" y="8"/>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sp>
          <p:nvSpPr>
            <p:cNvPr id="25" name="Freeform 11"/>
            <p:cNvSpPr>
              <a:spLocks noEditPoints="1"/>
            </p:cNvSpPr>
            <p:nvPr/>
          </p:nvSpPr>
          <p:spPr bwMode="auto">
            <a:xfrm>
              <a:off x="8488363" y="5151438"/>
              <a:ext cx="46038" cy="47625"/>
            </a:xfrm>
            <a:custGeom>
              <a:avLst/>
              <a:gdLst>
                <a:gd name="T0" fmla="*/ 26 w 53"/>
                <a:gd name="T1" fmla="*/ 54 h 54"/>
                <a:gd name="T2" fmla="*/ 0 w 53"/>
                <a:gd name="T3" fmla="*/ 27 h 54"/>
                <a:gd name="T4" fmla="*/ 26 w 53"/>
                <a:gd name="T5" fmla="*/ 0 h 54"/>
                <a:gd name="T6" fmla="*/ 53 w 53"/>
                <a:gd name="T7" fmla="*/ 27 h 54"/>
                <a:gd name="T8" fmla="*/ 26 w 53"/>
                <a:gd name="T9" fmla="*/ 54 h 54"/>
                <a:gd name="T10" fmla="*/ 26 w 53"/>
                <a:gd name="T11" fmla="*/ 8 h 54"/>
                <a:gd name="T12" fmla="*/ 7 w 53"/>
                <a:gd name="T13" fmla="*/ 27 h 54"/>
                <a:gd name="T14" fmla="*/ 26 w 53"/>
                <a:gd name="T15" fmla="*/ 46 h 54"/>
                <a:gd name="T16" fmla="*/ 45 w 53"/>
                <a:gd name="T17" fmla="*/ 27 h 54"/>
                <a:gd name="T18" fmla="*/ 26 w 53"/>
                <a:gd name="T19"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6" y="54"/>
                  </a:moveTo>
                  <a:cubicBezTo>
                    <a:pt x="12" y="54"/>
                    <a:pt x="0" y="42"/>
                    <a:pt x="0" y="27"/>
                  </a:cubicBezTo>
                  <a:cubicBezTo>
                    <a:pt x="0" y="12"/>
                    <a:pt x="12" y="0"/>
                    <a:pt x="26" y="0"/>
                  </a:cubicBezTo>
                  <a:cubicBezTo>
                    <a:pt x="41" y="0"/>
                    <a:pt x="53" y="12"/>
                    <a:pt x="53" y="27"/>
                  </a:cubicBezTo>
                  <a:cubicBezTo>
                    <a:pt x="53" y="42"/>
                    <a:pt x="41" y="54"/>
                    <a:pt x="26" y="54"/>
                  </a:cubicBezTo>
                  <a:close/>
                  <a:moveTo>
                    <a:pt x="26" y="8"/>
                  </a:moveTo>
                  <a:cubicBezTo>
                    <a:pt x="16" y="8"/>
                    <a:pt x="7" y="16"/>
                    <a:pt x="7" y="27"/>
                  </a:cubicBezTo>
                  <a:cubicBezTo>
                    <a:pt x="7" y="37"/>
                    <a:pt x="16" y="46"/>
                    <a:pt x="26" y="46"/>
                  </a:cubicBezTo>
                  <a:cubicBezTo>
                    <a:pt x="37" y="46"/>
                    <a:pt x="45" y="37"/>
                    <a:pt x="45" y="27"/>
                  </a:cubicBezTo>
                  <a:cubicBezTo>
                    <a:pt x="45" y="16"/>
                    <a:pt x="37" y="8"/>
                    <a:pt x="26" y="8"/>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id-ID" dirty="0"/>
            </a:p>
          </p:txBody>
        </p:sp>
      </p:grpSp>
      <p:sp>
        <p:nvSpPr>
          <p:cNvPr id="26" name="TextBox 25"/>
          <p:cNvSpPr txBox="1"/>
          <p:nvPr/>
        </p:nvSpPr>
        <p:spPr>
          <a:xfrm>
            <a:off x="4324287" y="2202510"/>
            <a:ext cx="595035" cy="276999"/>
          </a:xfrm>
          <a:prstGeom prst="rect">
            <a:avLst/>
          </a:prstGeom>
          <a:solidFill>
            <a:schemeClr val="bg1"/>
          </a:solidFill>
        </p:spPr>
        <p:txBody>
          <a:bodyPr wrap="none" rtlCol="0">
            <a:spAutoFit/>
          </a:bodyPr>
          <a:lstStyle/>
          <a:p>
            <a:pPr algn="ctr"/>
            <a:r>
              <a:rPr lang="en-US" sz="1200" b="1" dirty="0">
                <a:ea typeface="Arial" charset="0"/>
                <a:cs typeface="Arial" charset="0"/>
              </a:rPr>
              <a:t>NEXT</a:t>
            </a:r>
            <a:endParaRPr lang="id-ID" sz="1200" b="1" dirty="0">
              <a:ea typeface="Arial" charset="0"/>
              <a:cs typeface="Arial" charset="0"/>
            </a:endParaRPr>
          </a:p>
        </p:txBody>
      </p:sp>
      <p:cxnSp>
        <p:nvCxnSpPr>
          <p:cNvPr id="27" name="Straight Connector 26"/>
          <p:cNvCxnSpPr/>
          <p:nvPr/>
        </p:nvCxnSpPr>
        <p:spPr>
          <a:xfrm>
            <a:off x="4073862" y="2434045"/>
            <a:ext cx="1080000" cy="0"/>
          </a:xfrm>
          <a:prstGeom prst="line">
            <a:avLst/>
          </a:prstGeom>
          <a:solidFill>
            <a:schemeClr val="tx1"/>
          </a:solidFill>
          <a:ln>
            <a:solidFill>
              <a:schemeClr val="bg2"/>
            </a:solidFill>
          </a:ln>
        </p:spPr>
        <p:style>
          <a:lnRef idx="1">
            <a:schemeClr val="accent1"/>
          </a:lnRef>
          <a:fillRef idx="0">
            <a:schemeClr val="accent1"/>
          </a:fillRef>
          <a:effectRef idx="0">
            <a:schemeClr val="accent1"/>
          </a:effectRef>
          <a:fontRef idx="minor">
            <a:schemeClr val="tx1"/>
          </a:fontRef>
        </p:style>
      </p:cxnSp>
      <p:sp>
        <p:nvSpPr>
          <p:cNvPr id="28" name="Right Arrow 27"/>
          <p:cNvSpPr/>
          <p:nvPr/>
        </p:nvSpPr>
        <p:spPr>
          <a:xfrm>
            <a:off x="2954113" y="3225657"/>
            <a:ext cx="530347" cy="464307"/>
          </a:xfrm>
          <a:prstGeom prst="right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p:nvSpPr>
        <p:spPr>
          <a:xfrm>
            <a:off x="3387673" y="2441786"/>
            <a:ext cx="2520000" cy="346249"/>
          </a:xfrm>
          <a:prstGeom prst="rect">
            <a:avLst/>
          </a:prstGeom>
          <a:solidFill>
            <a:schemeClr val="bg1"/>
          </a:solidFill>
          <a:ln>
            <a:solidFill>
              <a:schemeClr val="bg1"/>
            </a:solidFill>
          </a:ln>
        </p:spPr>
        <p:txBody>
          <a:bodyPr wrap="square">
            <a:spAutoFit/>
          </a:bodyPr>
          <a:lstStyle/>
          <a:p>
            <a:pPr algn="ctr">
              <a:lnSpc>
                <a:spcPct val="150000"/>
              </a:lnSpc>
            </a:pPr>
            <a:r>
              <a:rPr lang="en-US" sz="1100" b="1" dirty="0"/>
              <a:t>Deeper Dive</a:t>
            </a:r>
          </a:p>
        </p:txBody>
      </p:sp>
      <p:sp>
        <p:nvSpPr>
          <p:cNvPr id="30" name="Rechteck 26"/>
          <p:cNvSpPr/>
          <p:nvPr/>
        </p:nvSpPr>
        <p:spPr bwMode="gray">
          <a:xfrm>
            <a:off x="3825862" y="2790408"/>
            <a:ext cx="1889879" cy="1234236"/>
          </a:xfrm>
          <a:prstGeom prst="rect">
            <a:avLst/>
          </a:prstGeom>
          <a:solidFill>
            <a:schemeClr val="bg1"/>
          </a:solidFill>
        </p:spPr>
        <p:txBody>
          <a:bodyPr wrap="square" lIns="72000" tIns="0" rIns="180000" bIns="0">
            <a:noAutofit/>
          </a:bodyPr>
          <a:lstStyle/>
          <a:p>
            <a:pPr marL="55563" indent="-55563">
              <a:spcAft>
                <a:spcPts val="600"/>
              </a:spcAft>
              <a:buClr>
                <a:schemeClr val="bg1"/>
              </a:buClr>
              <a:buFont typeface="Arial" panose="020B0604020202020204" pitchFamily="34" charset="0"/>
              <a:buChar char="•"/>
            </a:pPr>
            <a:r>
              <a:rPr lang="en-US" sz="900" dirty="0"/>
              <a:t>Endpoint/cloud sensitive data scans</a:t>
            </a:r>
          </a:p>
          <a:p>
            <a:pPr marL="55563" indent="-55563">
              <a:spcAft>
                <a:spcPts val="600"/>
              </a:spcAft>
              <a:buClr>
                <a:schemeClr val="bg1"/>
              </a:buClr>
              <a:buFont typeface="Arial" panose="020B0604020202020204" pitchFamily="34" charset="0"/>
              <a:buChar char="•"/>
            </a:pPr>
            <a:r>
              <a:rPr lang="en-US" sz="900" dirty="0"/>
              <a:t>Implement default HR policy for </a:t>
            </a:r>
            <a:r>
              <a:rPr lang="en-US" sz="900" dirty="0" smtClean="0"/>
              <a:t>terminated </a:t>
            </a:r>
            <a:r>
              <a:rPr lang="en-US" sz="900" dirty="0"/>
              <a:t>employees</a:t>
            </a:r>
          </a:p>
          <a:p>
            <a:pPr marL="55563" indent="-55563">
              <a:spcAft>
                <a:spcPts val="600"/>
              </a:spcAft>
              <a:buClr>
                <a:schemeClr val="bg1"/>
              </a:buClr>
              <a:buFont typeface="Arial" panose="020B0604020202020204" pitchFamily="34" charset="0"/>
              <a:buChar char="•"/>
            </a:pPr>
            <a:r>
              <a:rPr lang="en-US" sz="900" dirty="0"/>
              <a:t>Leverage DLP policies for ISO compliance</a:t>
            </a:r>
          </a:p>
          <a:p>
            <a:pPr marL="55563" indent="-55563">
              <a:spcAft>
                <a:spcPts val="600"/>
              </a:spcAft>
              <a:buClr>
                <a:schemeClr val="bg1"/>
              </a:buClr>
              <a:buFont typeface="Arial" panose="020B0604020202020204" pitchFamily="34" charset="0"/>
              <a:buChar char="•"/>
            </a:pPr>
            <a:r>
              <a:rPr lang="en-US" sz="900" dirty="0"/>
              <a:t>Aged sensitive data removed and quarantined from publicly shared drives</a:t>
            </a:r>
          </a:p>
          <a:p>
            <a:pPr marL="55563" indent="-55563">
              <a:spcAft>
                <a:spcPts val="600"/>
              </a:spcAft>
              <a:buClr>
                <a:schemeClr val="bg1"/>
              </a:buClr>
              <a:buFont typeface="Arial" panose="020B0604020202020204" pitchFamily="34" charset="0"/>
              <a:buChar char="•"/>
            </a:pPr>
            <a:r>
              <a:rPr lang="en-US" sz="900" dirty="0"/>
              <a:t>Identify more sensitive data groups </a:t>
            </a:r>
          </a:p>
        </p:txBody>
      </p:sp>
      <p:sp>
        <p:nvSpPr>
          <p:cNvPr id="31" name="TextBox 30"/>
          <p:cNvSpPr txBox="1"/>
          <p:nvPr/>
        </p:nvSpPr>
        <p:spPr>
          <a:xfrm>
            <a:off x="7212145" y="2171008"/>
            <a:ext cx="543739" cy="276999"/>
          </a:xfrm>
          <a:prstGeom prst="rect">
            <a:avLst/>
          </a:prstGeom>
          <a:solidFill>
            <a:schemeClr val="bg1"/>
          </a:solidFill>
        </p:spPr>
        <p:txBody>
          <a:bodyPr wrap="none" rtlCol="0">
            <a:spAutoFit/>
          </a:bodyPr>
          <a:lstStyle/>
          <a:p>
            <a:pPr algn="ctr"/>
            <a:r>
              <a:rPr lang="en-US" sz="1200" b="1" dirty="0">
                <a:ea typeface="Arial" charset="0"/>
                <a:cs typeface="Arial" charset="0"/>
              </a:rPr>
              <a:t>NEW</a:t>
            </a:r>
            <a:endParaRPr lang="id-ID" sz="1200" b="1" dirty="0">
              <a:ea typeface="Arial" charset="0"/>
              <a:cs typeface="Arial" charset="0"/>
            </a:endParaRPr>
          </a:p>
        </p:txBody>
      </p:sp>
      <p:cxnSp>
        <p:nvCxnSpPr>
          <p:cNvPr id="32" name="Straight Connector 31"/>
          <p:cNvCxnSpPr/>
          <p:nvPr/>
        </p:nvCxnSpPr>
        <p:spPr>
          <a:xfrm>
            <a:off x="6936071" y="2402543"/>
            <a:ext cx="1080000" cy="0"/>
          </a:xfrm>
          <a:prstGeom prst="line">
            <a:avLst/>
          </a:prstGeom>
          <a:solidFill>
            <a:schemeClr val="tx1"/>
          </a:solidFill>
          <a:ln>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249882" y="2410284"/>
            <a:ext cx="2520000" cy="315214"/>
          </a:xfrm>
          <a:prstGeom prst="rect">
            <a:avLst/>
          </a:prstGeom>
          <a:solidFill>
            <a:schemeClr val="bg1"/>
          </a:solidFill>
          <a:ln>
            <a:solidFill>
              <a:schemeClr val="bg1"/>
            </a:solidFill>
          </a:ln>
        </p:spPr>
        <p:txBody>
          <a:bodyPr wrap="square">
            <a:spAutoFit/>
          </a:bodyPr>
          <a:lstStyle/>
          <a:p>
            <a:pPr algn="ctr">
              <a:lnSpc>
                <a:spcPct val="150000"/>
              </a:lnSpc>
            </a:pPr>
            <a:r>
              <a:rPr lang="en-US" sz="1100" b="1" dirty="0"/>
              <a:t>Full Value</a:t>
            </a:r>
          </a:p>
        </p:txBody>
      </p:sp>
      <p:sp>
        <p:nvSpPr>
          <p:cNvPr id="34" name="Rechteck 26"/>
          <p:cNvSpPr/>
          <p:nvPr/>
        </p:nvSpPr>
        <p:spPr bwMode="gray">
          <a:xfrm>
            <a:off x="6672762" y="2764338"/>
            <a:ext cx="1889879" cy="1234236"/>
          </a:xfrm>
          <a:prstGeom prst="rect">
            <a:avLst/>
          </a:prstGeom>
          <a:solidFill>
            <a:schemeClr val="bg1"/>
          </a:solidFill>
        </p:spPr>
        <p:txBody>
          <a:bodyPr wrap="square" lIns="72000" tIns="0" rIns="180000" bIns="0">
            <a:noAutofit/>
          </a:bodyPr>
          <a:lstStyle/>
          <a:p>
            <a:pPr marL="55563" indent="-55563">
              <a:spcAft>
                <a:spcPts val="600"/>
              </a:spcAft>
              <a:buClr>
                <a:schemeClr val="bg1"/>
              </a:buClr>
              <a:buFont typeface="Arial" panose="020B0604020202020204" pitchFamily="34" charset="0"/>
              <a:buChar char="•"/>
            </a:pPr>
            <a:r>
              <a:rPr lang="en-US" sz="900" dirty="0"/>
              <a:t>Information Classification Policy labels implemented, enforced, and tracked</a:t>
            </a:r>
          </a:p>
          <a:p>
            <a:pPr marL="55563" indent="-55563">
              <a:spcAft>
                <a:spcPts val="600"/>
              </a:spcAft>
              <a:buClr>
                <a:schemeClr val="bg1"/>
              </a:buClr>
              <a:buFont typeface="Arial" panose="020B0604020202020204" pitchFamily="34" charset="0"/>
              <a:buChar char="•"/>
            </a:pPr>
            <a:r>
              <a:rPr lang="en-US" sz="900" dirty="0"/>
              <a:t>All sensitive data identified and monitored</a:t>
            </a:r>
          </a:p>
          <a:p>
            <a:pPr marL="55563" indent="-55563">
              <a:spcAft>
                <a:spcPts val="600"/>
              </a:spcAft>
              <a:buClr>
                <a:schemeClr val="bg1"/>
              </a:buClr>
              <a:buFont typeface="Arial" panose="020B0604020202020204" pitchFamily="34" charset="0"/>
              <a:buChar char="•"/>
            </a:pPr>
            <a:r>
              <a:rPr lang="en-US" sz="900" dirty="0"/>
              <a:t>Restrictive policies in place for sensitive data</a:t>
            </a:r>
          </a:p>
          <a:p>
            <a:pPr marL="55563" indent="-55563">
              <a:spcAft>
                <a:spcPts val="600"/>
              </a:spcAft>
              <a:buClr>
                <a:schemeClr val="bg1"/>
              </a:buClr>
              <a:buFont typeface="Arial" panose="020B0604020202020204" pitchFamily="34" charset="0"/>
              <a:buChar char="•"/>
            </a:pPr>
            <a:r>
              <a:rPr lang="en-US" sz="900" dirty="0"/>
              <a:t>Enterprise-wide discovery scan and quarantine of aged sensitive data</a:t>
            </a:r>
          </a:p>
          <a:p>
            <a:pPr marL="55563" indent="-55563">
              <a:spcAft>
                <a:spcPts val="600"/>
              </a:spcAft>
              <a:buClr>
                <a:schemeClr val="bg1"/>
              </a:buClr>
              <a:buFont typeface="Arial" panose="020B0604020202020204" pitchFamily="34" charset="0"/>
              <a:buChar char="•"/>
            </a:pPr>
            <a:r>
              <a:rPr lang="en-US" sz="900" dirty="0"/>
              <a:t>"High-risk" user monitoring</a:t>
            </a:r>
          </a:p>
        </p:txBody>
      </p:sp>
      <p:sp>
        <p:nvSpPr>
          <p:cNvPr id="35" name="Right Arrow 34"/>
          <p:cNvSpPr/>
          <p:nvPr/>
        </p:nvSpPr>
        <p:spPr>
          <a:xfrm>
            <a:off x="5965437" y="3225657"/>
            <a:ext cx="530347" cy="464307"/>
          </a:xfrm>
          <a:prstGeom prst="right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Slide Number Placeholder 2"/>
          <p:cNvSpPr txBox="1">
            <a:spLocks/>
          </p:cNvSpPr>
          <p:nvPr/>
        </p:nvSpPr>
        <p:spPr>
          <a:xfrm>
            <a:off x="8430768" y="4837176"/>
            <a:ext cx="365760" cy="201168"/>
          </a:xfrm>
          <a:prstGeom prst="rect">
            <a:avLst/>
          </a:prstGeom>
        </p:spPr>
        <p:txBody>
          <a:bodyPr anchor="b" anchorCtr="0"/>
          <a:lstStyle>
            <a:defPPr>
              <a:defRPr lang="en-US"/>
            </a:defPPr>
            <a:lvl1pPr algn="r" rtl="0" fontAlgn="base">
              <a:spcBef>
                <a:spcPct val="0"/>
              </a:spcBef>
              <a:spcAft>
                <a:spcPct val="0"/>
              </a:spcAft>
              <a:defRPr sz="700" kern="1200">
                <a:solidFill>
                  <a:schemeClr val="tx1"/>
                </a:solidFill>
                <a:latin typeface="Arial" charset="0"/>
                <a:ea typeface="+mn-ea"/>
                <a:cs typeface="+mn-cs"/>
              </a:defRPr>
            </a:lvl1pPr>
            <a:lvl2pPr marL="457200" algn="l" rtl="0" fontAlgn="base">
              <a:spcBef>
                <a:spcPct val="0"/>
              </a:spcBef>
              <a:spcAft>
                <a:spcPct val="0"/>
              </a:spcAft>
              <a:defRPr sz="2800" kern="1200">
                <a:solidFill>
                  <a:schemeClr val="tx1"/>
                </a:solidFill>
                <a:latin typeface="Arial" charset="0"/>
                <a:ea typeface="+mn-ea"/>
                <a:cs typeface="+mn-cs"/>
              </a:defRPr>
            </a:lvl2pPr>
            <a:lvl3pPr marL="914400" algn="l" rtl="0" fontAlgn="base">
              <a:spcBef>
                <a:spcPct val="0"/>
              </a:spcBef>
              <a:spcAft>
                <a:spcPct val="0"/>
              </a:spcAft>
              <a:defRPr sz="2800" kern="1200">
                <a:solidFill>
                  <a:schemeClr val="tx1"/>
                </a:solidFill>
                <a:latin typeface="Arial" charset="0"/>
                <a:ea typeface="+mn-ea"/>
                <a:cs typeface="+mn-cs"/>
              </a:defRPr>
            </a:lvl3pPr>
            <a:lvl4pPr marL="1371600" algn="l" rtl="0" fontAlgn="base">
              <a:spcBef>
                <a:spcPct val="0"/>
              </a:spcBef>
              <a:spcAft>
                <a:spcPct val="0"/>
              </a:spcAft>
              <a:defRPr sz="2800" kern="1200">
                <a:solidFill>
                  <a:schemeClr val="tx1"/>
                </a:solidFill>
                <a:latin typeface="Arial" charset="0"/>
                <a:ea typeface="+mn-ea"/>
                <a:cs typeface="+mn-cs"/>
              </a:defRPr>
            </a:lvl4pPr>
            <a:lvl5pPr marL="1828800" algn="l" rtl="0" fontAlgn="base">
              <a:spcBef>
                <a:spcPct val="0"/>
              </a:spcBef>
              <a:spcAft>
                <a:spcPct val="0"/>
              </a:spcAft>
              <a:defRPr sz="2800" kern="1200">
                <a:solidFill>
                  <a:schemeClr val="tx1"/>
                </a:solidFill>
                <a:latin typeface="Arial" charset="0"/>
                <a:ea typeface="+mn-ea"/>
                <a:cs typeface="+mn-cs"/>
              </a:defRPr>
            </a:lvl5pPr>
            <a:lvl6pPr marL="2286000" algn="l" defTabSz="914400" rtl="0" eaLnBrk="1" latinLnBrk="0" hangingPunct="1">
              <a:defRPr sz="2800" kern="1200">
                <a:solidFill>
                  <a:schemeClr val="tx1"/>
                </a:solidFill>
                <a:latin typeface="Arial" charset="0"/>
                <a:ea typeface="+mn-ea"/>
                <a:cs typeface="+mn-cs"/>
              </a:defRPr>
            </a:lvl6pPr>
            <a:lvl7pPr marL="2743200" algn="l" defTabSz="914400" rtl="0" eaLnBrk="1" latinLnBrk="0" hangingPunct="1">
              <a:defRPr sz="2800" kern="1200">
                <a:solidFill>
                  <a:schemeClr val="tx1"/>
                </a:solidFill>
                <a:latin typeface="Arial" charset="0"/>
                <a:ea typeface="+mn-ea"/>
                <a:cs typeface="+mn-cs"/>
              </a:defRPr>
            </a:lvl7pPr>
            <a:lvl8pPr marL="3200400" algn="l" defTabSz="914400" rtl="0" eaLnBrk="1" latinLnBrk="0" hangingPunct="1">
              <a:defRPr sz="2800" kern="1200">
                <a:solidFill>
                  <a:schemeClr val="tx1"/>
                </a:solidFill>
                <a:latin typeface="Arial" charset="0"/>
                <a:ea typeface="+mn-ea"/>
                <a:cs typeface="+mn-cs"/>
              </a:defRPr>
            </a:lvl8pPr>
            <a:lvl9pPr marL="3657600" algn="l" defTabSz="914400" rtl="0" eaLnBrk="1" latinLnBrk="0" hangingPunct="1">
              <a:defRPr sz="2800" kern="1200">
                <a:solidFill>
                  <a:schemeClr val="tx1"/>
                </a:solidFill>
                <a:latin typeface="Arial" charset="0"/>
                <a:ea typeface="+mn-ea"/>
                <a:cs typeface="+mn-cs"/>
              </a:defRPr>
            </a:lvl9pPr>
          </a:lstStyle>
          <a:p>
            <a:fld id="{0E0C512C-2A69-4D15-9349-877CDA6B8ABD}" type="slidenum">
              <a:rPr lang="en-GB" smtClean="0"/>
              <a:pPr/>
              <a:t>21</a:t>
            </a:fld>
            <a:endParaRPr lang="en-GB" dirty="0"/>
          </a:p>
        </p:txBody>
      </p:sp>
      <p:sp>
        <p:nvSpPr>
          <p:cNvPr id="37" name="Freeform 36"/>
          <p:cNvSpPr>
            <a:spLocks noEditPoints="1"/>
          </p:cNvSpPr>
          <p:nvPr/>
        </p:nvSpPr>
        <p:spPr bwMode="auto">
          <a:xfrm rot="2700000">
            <a:off x="1732122" y="1393119"/>
            <a:ext cx="500382" cy="819998"/>
          </a:xfrm>
          <a:custGeom>
            <a:avLst/>
            <a:gdLst>
              <a:gd name="T0" fmla="*/ 482 w 579"/>
              <a:gd name="T1" fmla="*/ 367 h 1073"/>
              <a:gd name="T2" fmla="*/ 482 w 579"/>
              <a:gd name="T3" fmla="*/ 148 h 1073"/>
              <a:gd name="T4" fmla="*/ 525 w 579"/>
              <a:gd name="T5" fmla="*/ 79 h 1073"/>
              <a:gd name="T6" fmla="*/ 447 w 579"/>
              <a:gd name="T7" fmla="*/ 0 h 1073"/>
              <a:gd name="T8" fmla="*/ 132 w 579"/>
              <a:gd name="T9" fmla="*/ 0 h 1073"/>
              <a:gd name="T10" fmla="*/ 54 w 579"/>
              <a:gd name="T11" fmla="*/ 79 h 1073"/>
              <a:gd name="T12" fmla="*/ 96 w 579"/>
              <a:gd name="T13" fmla="*/ 148 h 1073"/>
              <a:gd name="T14" fmla="*/ 96 w 579"/>
              <a:gd name="T15" fmla="*/ 367 h 1073"/>
              <a:gd name="T16" fmla="*/ 0 w 579"/>
              <a:gd name="T17" fmla="*/ 583 h 1073"/>
              <a:gd name="T18" fmla="*/ 0 w 579"/>
              <a:gd name="T19" fmla="*/ 612 h 1073"/>
              <a:gd name="T20" fmla="*/ 224 w 579"/>
              <a:gd name="T21" fmla="*/ 612 h 1073"/>
              <a:gd name="T22" fmla="*/ 224 w 579"/>
              <a:gd name="T23" fmla="*/ 923 h 1073"/>
              <a:gd name="T24" fmla="*/ 289 w 579"/>
              <a:gd name="T25" fmla="*/ 1073 h 1073"/>
              <a:gd name="T26" fmla="*/ 355 w 579"/>
              <a:gd name="T27" fmla="*/ 923 h 1073"/>
              <a:gd name="T28" fmla="*/ 355 w 579"/>
              <a:gd name="T29" fmla="*/ 612 h 1073"/>
              <a:gd name="T30" fmla="*/ 579 w 579"/>
              <a:gd name="T31" fmla="*/ 612 h 1073"/>
              <a:gd name="T32" fmla="*/ 579 w 579"/>
              <a:gd name="T33" fmla="*/ 583 h 1073"/>
              <a:gd name="T34" fmla="*/ 482 w 579"/>
              <a:gd name="T35" fmla="*/ 367 h 1073"/>
              <a:gd name="T36" fmla="*/ 132 w 579"/>
              <a:gd name="T37" fmla="*/ 58 h 1073"/>
              <a:gd name="T38" fmla="*/ 447 w 579"/>
              <a:gd name="T39" fmla="*/ 58 h 1073"/>
              <a:gd name="T40" fmla="*/ 467 w 579"/>
              <a:gd name="T41" fmla="*/ 79 h 1073"/>
              <a:gd name="T42" fmla="*/ 449 w 579"/>
              <a:gd name="T43" fmla="*/ 99 h 1073"/>
              <a:gd name="T44" fmla="*/ 436 w 579"/>
              <a:gd name="T45" fmla="*/ 101 h 1073"/>
              <a:gd name="T46" fmla="*/ 143 w 579"/>
              <a:gd name="T47" fmla="*/ 101 h 1073"/>
              <a:gd name="T48" fmla="*/ 129 w 579"/>
              <a:gd name="T49" fmla="*/ 99 h 1073"/>
              <a:gd name="T50" fmla="*/ 111 w 579"/>
              <a:gd name="T51" fmla="*/ 79 h 1073"/>
              <a:gd name="T52" fmla="*/ 132 w 579"/>
              <a:gd name="T53" fmla="*/ 58 h 1073"/>
              <a:gd name="T54" fmla="*/ 424 w 579"/>
              <a:gd name="T55" fmla="*/ 370 h 1073"/>
              <a:gd name="T56" fmla="*/ 154 w 579"/>
              <a:gd name="T57" fmla="*/ 370 h 1073"/>
              <a:gd name="T58" fmla="*/ 154 w 579"/>
              <a:gd name="T59" fmla="*/ 130 h 1073"/>
              <a:gd name="T60" fmla="*/ 424 w 579"/>
              <a:gd name="T61" fmla="*/ 130 h 1073"/>
              <a:gd name="T62" fmla="*/ 424 w 579"/>
              <a:gd name="T63" fmla="*/ 370 h 1073"/>
              <a:gd name="T64" fmla="*/ 297 w 579"/>
              <a:gd name="T65" fmla="*/ 911 h 1073"/>
              <a:gd name="T66" fmla="*/ 289 w 579"/>
              <a:gd name="T67" fmla="*/ 928 h 1073"/>
              <a:gd name="T68" fmla="*/ 282 w 579"/>
              <a:gd name="T69" fmla="*/ 911 h 1073"/>
              <a:gd name="T70" fmla="*/ 282 w 579"/>
              <a:gd name="T71" fmla="*/ 612 h 1073"/>
              <a:gd name="T72" fmla="*/ 297 w 579"/>
              <a:gd name="T73" fmla="*/ 612 h 1073"/>
              <a:gd name="T74" fmla="*/ 297 w 579"/>
              <a:gd name="T75" fmla="*/ 911 h 1073"/>
              <a:gd name="T76" fmla="*/ 355 w 579"/>
              <a:gd name="T77" fmla="*/ 554 h 1073"/>
              <a:gd name="T78" fmla="*/ 224 w 579"/>
              <a:gd name="T79" fmla="*/ 554 h 1073"/>
              <a:gd name="T80" fmla="*/ 59 w 579"/>
              <a:gd name="T81" fmla="*/ 554 h 1073"/>
              <a:gd name="T82" fmla="*/ 144 w 579"/>
              <a:gd name="T83" fmla="*/ 403 h 1073"/>
              <a:gd name="T84" fmla="*/ 149 w 579"/>
              <a:gd name="T85" fmla="*/ 399 h 1073"/>
              <a:gd name="T86" fmla="*/ 430 w 579"/>
              <a:gd name="T87" fmla="*/ 399 h 1073"/>
              <a:gd name="T88" fmla="*/ 435 w 579"/>
              <a:gd name="T89" fmla="*/ 403 h 1073"/>
              <a:gd name="T90" fmla="*/ 519 w 579"/>
              <a:gd name="T91" fmla="*/ 554 h 1073"/>
              <a:gd name="T92" fmla="*/ 355 w 579"/>
              <a:gd name="T93" fmla="*/ 55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9" h="1073">
                <a:moveTo>
                  <a:pt x="482" y="367"/>
                </a:moveTo>
                <a:cubicBezTo>
                  <a:pt x="482" y="148"/>
                  <a:pt x="482" y="148"/>
                  <a:pt x="482" y="148"/>
                </a:cubicBezTo>
                <a:cubicBezTo>
                  <a:pt x="508" y="135"/>
                  <a:pt x="525" y="109"/>
                  <a:pt x="525" y="79"/>
                </a:cubicBezTo>
                <a:cubicBezTo>
                  <a:pt x="525" y="35"/>
                  <a:pt x="490" y="0"/>
                  <a:pt x="447" y="0"/>
                </a:cubicBezTo>
                <a:cubicBezTo>
                  <a:pt x="132" y="0"/>
                  <a:pt x="132" y="0"/>
                  <a:pt x="132" y="0"/>
                </a:cubicBezTo>
                <a:cubicBezTo>
                  <a:pt x="89" y="0"/>
                  <a:pt x="54" y="35"/>
                  <a:pt x="54" y="79"/>
                </a:cubicBezTo>
                <a:cubicBezTo>
                  <a:pt x="54" y="109"/>
                  <a:pt x="71" y="135"/>
                  <a:pt x="96" y="148"/>
                </a:cubicBezTo>
                <a:cubicBezTo>
                  <a:pt x="96" y="367"/>
                  <a:pt x="96" y="367"/>
                  <a:pt x="96" y="367"/>
                </a:cubicBezTo>
                <a:cubicBezTo>
                  <a:pt x="35" y="422"/>
                  <a:pt x="0" y="500"/>
                  <a:pt x="0" y="583"/>
                </a:cubicBezTo>
                <a:cubicBezTo>
                  <a:pt x="0" y="612"/>
                  <a:pt x="0" y="612"/>
                  <a:pt x="0" y="612"/>
                </a:cubicBezTo>
                <a:cubicBezTo>
                  <a:pt x="224" y="612"/>
                  <a:pt x="224" y="612"/>
                  <a:pt x="224" y="612"/>
                </a:cubicBezTo>
                <a:cubicBezTo>
                  <a:pt x="224" y="923"/>
                  <a:pt x="224" y="923"/>
                  <a:pt x="224" y="923"/>
                </a:cubicBezTo>
                <a:cubicBezTo>
                  <a:pt x="289" y="1073"/>
                  <a:pt x="289" y="1073"/>
                  <a:pt x="289" y="1073"/>
                </a:cubicBezTo>
                <a:cubicBezTo>
                  <a:pt x="355" y="923"/>
                  <a:pt x="355" y="923"/>
                  <a:pt x="355" y="923"/>
                </a:cubicBezTo>
                <a:cubicBezTo>
                  <a:pt x="355" y="612"/>
                  <a:pt x="355" y="612"/>
                  <a:pt x="355" y="612"/>
                </a:cubicBezTo>
                <a:cubicBezTo>
                  <a:pt x="579" y="612"/>
                  <a:pt x="579" y="612"/>
                  <a:pt x="579" y="612"/>
                </a:cubicBezTo>
                <a:cubicBezTo>
                  <a:pt x="579" y="583"/>
                  <a:pt x="579" y="583"/>
                  <a:pt x="579" y="583"/>
                </a:cubicBezTo>
                <a:cubicBezTo>
                  <a:pt x="579" y="500"/>
                  <a:pt x="544" y="422"/>
                  <a:pt x="482" y="367"/>
                </a:cubicBezTo>
                <a:close/>
                <a:moveTo>
                  <a:pt x="132" y="58"/>
                </a:moveTo>
                <a:cubicBezTo>
                  <a:pt x="447" y="58"/>
                  <a:pt x="447" y="58"/>
                  <a:pt x="447" y="58"/>
                </a:cubicBezTo>
                <a:cubicBezTo>
                  <a:pt x="458" y="58"/>
                  <a:pt x="467" y="67"/>
                  <a:pt x="467" y="79"/>
                </a:cubicBezTo>
                <a:cubicBezTo>
                  <a:pt x="467" y="89"/>
                  <a:pt x="459" y="97"/>
                  <a:pt x="449" y="99"/>
                </a:cubicBezTo>
                <a:cubicBezTo>
                  <a:pt x="436" y="101"/>
                  <a:pt x="436" y="101"/>
                  <a:pt x="436" y="101"/>
                </a:cubicBezTo>
                <a:cubicBezTo>
                  <a:pt x="143" y="101"/>
                  <a:pt x="143" y="101"/>
                  <a:pt x="143" y="101"/>
                </a:cubicBezTo>
                <a:cubicBezTo>
                  <a:pt x="129" y="99"/>
                  <a:pt x="129" y="99"/>
                  <a:pt x="129" y="99"/>
                </a:cubicBezTo>
                <a:cubicBezTo>
                  <a:pt x="119" y="97"/>
                  <a:pt x="111" y="89"/>
                  <a:pt x="111" y="79"/>
                </a:cubicBezTo>
                <a:cubicBezTo>
                  <a:pt x="111" y="67"/>
                  <a:pt x="121" y="58"/>
                  <a:pt x="132" y="58"/>
                </a:cubicBezTo>
                <a:close/>
                <a:moveTo>
                  <a:pt x="424" y="370"/>
                </a:moveTo>
                <a:cubicBezTo>
                  <a:pt x="154" y="370"/>
                  <a:pt x="154" y="370"/>
                  <a:pt x="154" y="370"/>
                </a:cubicBezTo>
                <a:cubicBezTo>
                  <a:pt x="154" y="130"/>
                  <a:pt x="154" y="130"/>
                  <a:pt x="154" y="130"/>
                </a:cubicBezTo>
                <a:cubicBezTo>
                  <a:pt x="424" y="130"/>
                  <a:pt x="424" y="130"/>
                  <a:pt x="424" y="130"/>
                </a:cubicBezTo>
                <a:lnTo>
                  <a:pt x="424" y="370"/>
                </a:lnTo>
                <a:close/>
                <a:moveTo>
                  <a:pt x="297" y="911"/>
                </a:moveTo>
                <a:cubicBezTo>
                  <a:pt x="289" y="928"/>
                  <a:pt x="289" y="928"/>
                  <a:pt x="289" y="928"/>
                </a:cubicBezTo>
                <a:cubicBezTo>
                  <a:pt x="282" y="911"/>
                  <a:pt x="282" y="911"/>
                  <a:pt x="282" y="911"/>
                </a:cubicBezTo>
                <a:cubicBezTo>
                  <a:pt x="282" y="612"/>
                  <a:pt x="282" y="612"/>
                  <a:pt x="282" y="612"/>
                </a:cubicBezTo>
                <a:cubicBezTo>
                  <a:pt x="297" y="612"/>
                  <a:pt x="297" y="612"/>
                  <a:pt x="297" y="612"/>
                </a:cubicBezTo>
                <a:lnTo>
                  <a:pt x="297" y="911"/>
                </a:lnTo>
                <a:close/>
                <a:moveTo>
                  <a:pt x="355" y="554"/>
                </a:moveTo>
                <a:cubicBezTo>
                  <a:pt x="224" y="554"/>
                  <a:pt x="224" y="554"/>
                  <a:pt x="224" y="554"/>
                </a:cubicBezTo>
                <a:cubicBezTo>
                  <a:pt x="59" y="554"/>
                  <a:pt x="59" y="554"/>
                  <a:pt x="59" y="554"/>
                </a:cubicBezTo>
                <a:cubicBezTo>
                  <a:pt x="67" y="495"/>
                  <a:pt x="97" y="441"/>
                  <a:pt x="144" y="403"/>
                </a:cubicBezTo>
                <a:cubicBezTo>
                  <a:pt x="149" y="399"/>
                  <a:pt x="149" y="399"/>
                  <a:pt x="149" y="399"/>
                </a:cubicBezTo>
                <a:cubicBezTo>
                  <a:pt x="430" y="399"/>
                  <a:pt x="430" y="399"/>
                  <a:pt x="430" y="399"/>
                </a:cubicBezTo>
                <a:cubicBezTo>
                  <a:pt x="435" y="403"/>
                  <a:pt x="435" y="403"/>
                  <a:pt x="435" y="403"/>
                </a:cubicBezTo>
                <a:cubicBezTo>
                  <a:pt x="482" y="441"/>
                  <a:pt x="512" y="495"/>
                  <a:pt x="519" y="554"/>
                </a:cubicBezTo>
                <a:lnTo>
                  <a:pt x="355" y="554"/>
                </a:lnTo>
                <a:close/>
              </a:path>
            </a:pathLst>
          </a:custGeom>
          <a:solidFill>
            <a:srgbClr val="552684"/>
          </a:solidFill>
          <a:ln>
            <a:solidFill>
              <a:schemeClr val="accent1"/>
            </a:solidFill>
          </a:ln>
        </p:spPr>
        <p:txBody>
          <a:bodyPr vert="horz" wrap="square" lIns="91440" tIns="45720" rIns="91440" bIns="45720" numCol="1" anchor="t" anchorCtr="0" compatLnSpc="1">
            <a:prstTxWarp prst="textNoShape">
              <a:avLst/>
            </a:prstTxWarp>
          </a:bodyPr>
          <a:lstStyle/>
          <a:p>
            <a:endParaRPr lang="id-ID" dirty="0"/>
          </a:p>
        </p:txBody>
      </p:sp>
    </p:spTree>
    <p:extLst>
      <p:ext uri="{BB962C8B-B14F-4D97-AF65-F5344CB8AC3E}">
        <p14:creationId xmlns:p14="http://schemas.microsoft.com/office/powerpoint/2010/main" val="99050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outVertical)">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14" descr="© INSCALE GmbH, 26.05.2010&#10;http://www.presentationload.com/"/>
          <p:cNvGrpSpPr/>
          <p:nvPr/>
        </p:nvGrpSpPr>
        <p:grpSpPr bwMode="gray">
          <a:xfrm>
            <a:off x="2605977" y="1019028"/>
            <a:ext cx="3368044" cy="3237881"/>
            <a:chOff x="2827338" y="1927225"/>
            <a:chExt cx="3508375" cy="3508375"/>
          </a:xfrm>
          <a:gradFill flip="none" rotWithShape="1">
            <a:gsLst>
              <a:gs pos="100000">
                <a:srgbClr val="C0C0C0"/>
              </a:gs>
              <a:gs pos="0">
                <a:schemeClr val="bg1"/>
              </a:gs>
            </a:gsLst>
            <a:lin ang="18900000" scaled="1"/>
            <a:tileRect/>
          </a:gradFill>
          <a:effectLst>
            <a:outerShdw blurRad="203200" algn="ctr" rotWithShape="0">
              <a:prstClr val="black">
                <a:alpha val="65000"/>
              </a:prstClr>
            </a:outerShdw>
          </a:effectLst>
          <a:scene3d>
            <a:camera prst="perspectiveRelaxedModerately" fov="5400000">
              <a:rot lat="18612000" lon="17976000" rev="3906000"/>
            </a:camera>
            <a:lightRig rig="balanced" dir="t">
              <a:rot lat="0" lon="0" rev="3600000"/>
            </a:lightRig>
          </a:scene3d>
        </p:grpSpPr>
        <p:sp>
          <p:nvSpPr>
            <p:cNvPr id="28" name="Freeform 13" descr="© INSCALE GmbH, 26.05.2010&#10;http://www.presentationload.com/"/>
            <p:cNvSpPr>
              <a:spLocks/>
            </p:cNvSpPr>
            <p:nvPr>
              <p:custDataLst>
                <p:tags r:id="rId1"/>
              </p:custDataLst>
            </p:nvPr>
          </p:nvSpPr>
          <p:spPr bwMode="gray">
            <a:xfrm>
              <a:off x="2827338" y="2930952"/>
              <a:ext cx="746125" cy="1664861"/>
            </a:xfrm>
            <a:custGeom>
              <a:avLst/>
              <a:gdLst>
                <a:gd name="connsiteX0" fmla="*/ 125 w 125"/>
                <a:gd name="connsiteY0" fmla="*/ 231 h 278"/>
                <a:gd name="connsiteX1" fmla="*/ 110 w 125"/>
                <a:gd name="connsiteY1" fmla="*/ 49 h 278"/>
                <a:gd name="connsiteX2" fmla="*/ 28 w 125"/>
                <a:gd name="connsiteY2" fmla="*/ 0 h 278"/>
                <a:gd name="connsiteX3" fmla="*/ 0 w 125"/>
                <a:gd name="connsiteY3" fmla="*/ 125 h 278"/>
                <a:gd name="connsiteX4" fmla="*/ 43 w 125"/>
                <a:gd name="connsiteY4" fmla="*/ 278 h 278"/>
                <a:gd name="connsiteX5" fmla="*/ 63 w 125"/>
                <a:gd name="connsiteY5" fmla="*/ 218 h 278"/>
                <a:gd name="connsiteX6" fmla="*/ 125 w 125"/>
                <a:gd name="connsiteY6" fmla="*/ 231 h 278"/>
                <a:gd name="connsiteX0" fmla="*/ 125 w 125"/>
                <a:gd name="connsiteY0" fmla="*/ 231 h 296"/>
                <a:gd name="connsiteX1" fmla="*/ 110 w 125"/>
                <a:gd name="connsiteY1" fmla="*/ 49 h 296"/>
                <a:gd name="connsiteX2" fmla="*/ 28 w 125"/>
                <a:gd name="connsiteY2" fmla="*/ 0 h 296"/>
                <a:gd name="connsiteX3" fmla="*/ 0 w 125"/>
                <a:gd name="connsiteY3" fmla="*/ 125 h 296"/>
                <a:gd name="connsiteX4" fmla="*/ 43 w 125"/>
                <a:gd name="connsiteY4" fmla="*/ 278 h 296"/>
                <a:gd name="connsiteX5" fmla="*/ 125 w 125"/>
                <a:gd name="connsiteY5" fmla="*/ 231 h 296"/>
                <a:gd name="connsiteX0" fmla="*/ 125 w 125"/>
                <a:gd name="connsiteY0" fmla="*/ 231 h 278"/>
                <a:gd name="connsiteX1" fmla="*/ 110 w 125"/>
                <a:gd name="connsiteY1" fmla="*/ 49 h 278"/>
                <a:gd name="connsiteX2" fmla="*/ 28 w 125"/>
                <a:gd name="connsiteY2" fmla="*/ 0 h 278"/>
                <a:gd name="connsiteX3" fmla="*/ 0 w 125"/>
                <a:gd name="connsiteY3" fmla="*/ 125 h 278"/>
                <a:gd name="connsiteX4" fmla="*/ 43 w 125"/>
                <a:gd name="connsiteY4" fmla="*/ 278 h 278"/>
                <a:gd name="connsiteX5" fmla="*/ 125 w 125"/>
                <a:gd name="connsiteY5" fmla="*/ 231 h 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 h="278">
                  <a:moveTo>
                    <a:pt x="125" y="231"/>
                  </a:moveTo>
                  <a:cubicBezTo>
                    <a:pt x="92" y="178"/>
                    <a:pt x="85" y="110"/>
                    <a:pt x="110" y="49"/>
                  </a:cubicBezTo>
                  <a:lnTo>
                    <a:pt x="28" y="0"/>
                  </a:lnTo>
                  <a:cubicBezTo>
                    <a:pt x="10" y="38"/>
                    <a:pt x="0" y="80"/>
                    <a:pt x="0" y="125"/>
                  </a:cubicBezTo>
                  <a:cubicBezTo>
                    <a:pt x="0" y="181"/>
                    <a:pt x="16" y="233"/>
                    <a:pt x="43" y="278"/>
                  </a:cubicBezTo>
                  <a:cubicBezTo>
                    <a:pt x="70" y="262"/>
                    <a:pt x="98" y="247"/>
                    <a:pt x="125" y="231"/>
                  </a:cubicBezTo>
                  <a:close/>
                </a:path>
              </a:pathLst>
            </a:custGeom>
            <a:solidFill>
              <a:srgbClr val="4F2D7F"/>
            </a:solidFill>
            <a:ln w="15875">
              <a:solidFill>
                <a:srgbClr val="E6E6E6"/>
              </a:solidFill>
              <a:round/>
              <a:headEnd/>
              <a:tailEnd/>
            </a:ln>
            <a:sp3d extrusionH="127000"/>
          </p:spPr>
          <p:txBody>
            <a:bodyPr/>
            <a:lstStyle/>
            <a:p>
              <a:endParaRPr lang="de-DE" sz="1200"/>
            </a:p>
          </p:txBody>
        </p:sp>
        <p:sp>
          <p:nvSpPr>
            <p:cNvPr id="29" name="Freeform 14" descr="© INSCALE GmbH, 26.05.2010&#10;http://www.presentationload.com/"/>
            <p:cNvSpPr>
              <a:spLocks/>
            </p:cNvSpPr>
            <p:nvPr>
              <p:custDataLst>
                <p:tags r:id="rId2"/>
              </p:custDataLst>
            </p:nvPr>
          </p:nvSpPr>
          <p:spPr bwMode="gray">
            <a:xfrm>
              <a:off x="4540250" y="1927225"/>
              <a:ext cx="1485900" cy="1028735"/>
            </a:xfrm>
            <a:custGeom>
              <a:avLst/>
              <a:gdLst>
                <a:gd name="connsiteX0" fmla="*/ 0 w 248"/>
                <a:gd name="connsiteY0" fmla="*/ 95 h 172"/>
                <a:gd name="connsiteX1" fmla="*/ 106 w 248"/>
                <a:gd name="connsiteY1" fmla="*/ 121 h 172"/>
                <a:gd name="connsiteX2" fmla="*/ 164 w 248"/>
                <a:gd name="connsiteY2" fmla="*/ 172 h 172"/>
                <a:gd name="connsiteX3" fmla="*/ 248 w 248"/>
                <a:gd name="connsiteY3" fmla="*/ 126 h 172"/>
                <a:gd name="connsiteX4" fmla="*/ 7 w 248"/>
                <a:gd name="connsiteY4" fmla="*/ 0 h 172"/>
                <a:gd name="connsiteX5" fmla="*/ 0 w 248"/>
                <a:gd name="connsiteY5" fmla="*/ 1 h 172"/>
                <a:gd name="connsiteX6" fmla="*/ 41 w 248"/>
                <a:gd name="connsiteY6" fmla="*/ 48 h 172"/>
                <a:gd name="connsiteX7" fmla="*/ 0 w 248"/>
                <a:gd name="connsiteY7" fmla="*/ 95 h 172"/>
                <a:gd name="connsiteX0" fmla="*/ 0 w 248"/>
                <a:gd name="connsiteY0" fmla="*/ 95 h 172"/>
                <a:gd name="connsiteX1" fmla="*/ 106 w 248"/>
                <a:gd name="connsiteY1" fmla="*/ 121 h 172"/>
                <a:gd name="connsiteX2" fmla="*/ 164 w 248"/>
                <a:gd name="connsiteY2" fmla="*/ 172 h 172"/>
                <a:gd name="connsiteX3" fmla="*/ 248 w 248"/>
                <a:gd name="connsiteY3" fmla="*/ 126 h 172"/>
                <a:gd name="connsiteX4" fmla="*/ 7 w 248"/>
                <a:gd name="connsiteY4" fmla="*/ 0 h 172"/>
                <a:gd name="connsiteX5" fmla="*/ 0 w 248"/>
                <a:gd name="connsiteY5" fmla="*/ 1 h 172"/>
                <a:gd name="connsiteX6" fmla="*/ 41 w 248"/>
                <a:gd name="connsiteY6" fmla="*/ 48 h 172"/>
                <a:gd name="connsiteX7" fmla="*/ 0 w 248"/>
                <a:gd name="connsiteY7" fmla="*/ 95 h 172"/>
                <a:gd name="connsiteX0" fmla="*/ 0 w 248"/>
                <a:gd name="connsiteY0" fmla="*/ 95 h 172"/>
                <a:gd name="connsiteX1" fmla="*/ 106 w 248"/>
                <a:gd name="connsiteY1" fmla="*/ 121 h 172"/>
                <a:gd name="connsiteX2" fmla="*/ 164 w 248"/>
                <a:gd name="connsiteY2" fmla="*/ 172 h 172"/>
                <a:gd name="connsiteX3" fmla="*/ 248 w 248"/>
                <a:gd name="connsiteY3" fmla="*/ 126 h 172"/>
                <a:gd name="connsiteX4" fmla="*/ 7 w 248"/>
                <a:gd name="connsiteY4" fmla="*/ 0 h 172"/>
                <a:gd name="connsiteX5" fmla="*/ 0 w 248"/>
                <a:gd name="connsiteY5" fmla="*/ 1 h 172"/>
                <a:gd name="connsiteX6" fmla="*/ 0 w 248"/>
                <a:gd name="connsiteY6" fmla="*/ 95 h 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 h="172">
                  <a:moveTo>
                    <a:pt x="0" y="95"/>
                  </a:moveTo>
                  <a:cubicBezTo>
                    <a:pt x="36" y="94"/>
                    <a:pt x="73" y="102"/>
                    <a:pt x="106" y="121"/>
                  </a:cubicBezTo>
                  <a:cubicBezTo>
                    <a:pt x="130" y="135"/>
                    <a:pt x="149" y="152"/>
                    <a:pt x="164" y="172"/>
                  </a:cubicBezTo>
                  <a:cubicBezTo>
                    <a:pt x="192" y="157"/>
                    <a:pt x="220" y="141"/>
                    <a:pt x="248" y="126"/>
                  </a:cubicBezTo>
                  <a:cubicBezTo>
                    <a:pt x="195" y="50"/>
                    <a:pt x="107" y="0"/>
                    <a:pt x="7" y="0"/>
                  </a:cubicBezTo>
                  <a:cubicBezTo>
                    <a:pt x="5" y="0"/>
                    <a:pt x="2" y="1"/>
                    <a:pt x="0" y="1"/>
                  </a:cubicBezTo>
                  <a:lnTo>
                    <a:pt x="0" y="95"/>
                  </a:lnTo>
                  <a:close/>
                </a:path>
              </a:pathLst>
            </a:custGeom>
            <a:solidFill>
              <a:srgbClr val="4F2D7F"/>
            </a:solidFill>
            <a:ln w="15875">
              <a:solidFill>
                <a:srgbClr val="E6E6E6"/>
              </a:solidFill>
              <a:round/>
              <a:headEnd/>
              <a:tailEnd/>
            </a:ln>
            <a:sp3d extrusionH="127000"/>
          </p:spPr>
          <p:txBody>
            <a:bodyPr/>
            <a:lstStyle/>
            <a:p>
              <a:endParaRPr lang="de-DE" sz="1200"/>
            </a:p>
          </p:txBody>
        </p:sp>
        <p:sp>
          <p:nvSpPr>
            <p:cNvPr id="30" name="Freeform 15" descr="© INSCALE GmbH, 26.05.2010&#10;http://www.presentationload.com/"/>
            <p:cNvSpPr>
              <a:spLocks/>
            </p:cNvSpPr>
            <p:nvPr>
              <p:custDataLst>
                <p:tags r:id="rId3"/>
              </p:custDataLst>
            </p:nvPr>
          </p:nvSpPr>
          <p:spPr bwMode="gray">
            <a:xfrm>
              <a:off x="3136900" y="4405727"/>
              <a:ext cx="1492250" cy="1029873"/>
            </a:xfrm>
            <a:custGeom>
              <a:avLst/>
              <a:gdLst>
                <a:gd name="connsiteX0" fmla="*/ 249 w 249"/>
                <a:gd name="connsiteY0" fmla="*/ 78 h 172"/>
                <a:gd name="connsiteX1" fmla="*/ 142 w 249"/>
                <a:gd name="connsiteY1" fmla="*/ 51 h 172"/>
                <a:gd name="connsiteX2" fmla="*/ 84 w 249"/>
                <a:gd name="connsiteY2" fmla="*/ 0 h 172"/>
                <a:gd name="connsiteX3" fmla="*/ 0 w 249"/>
                <a:gd name="connsiteY3" fmla="*/ 46 h 172"/>
                <a:gd name="connsiteX4" fmla="*/ 241 w 249"/>
                <a:gd name="connsiteY4" fmla="*/ 172 h 172"/>
                <a:gd name="connsiteX5" fmla="*/ 248 w 249"/>
                <a:gd name="connsiteY5" fmla="*/ 172 h 172"/>
                <a:gd name="connsiteX6" fmla="*/ 207 w 249"/>
                <a:gd name="connsiteY6" fmla="*/ 125 h 172"/>
                <a:gd name="connsiteX7" fmla="*/ 249 w 249"/>
                <a:gd name="connsiteY7" fmla="*/ 78 h 172"/>
                <a:gd name="connsiteX0" fmla="*/ 249 w 249"/>
                <a:gd name="connsiteY0" fmla="*/ 78 h 172"/>
                <a:gd name="connsiteX1" fmla="*/ 142 w 249"/>
                <a:gd name="connsiteY1" fmla="*/ 51 h 172"/>
                <a:gd name="connsiteX2" fmla="*/ 84 w 249"/>
                <a:gd name="connsiteY2" fmla="*/ 0 h 172"/>
                <a:gd name="connsiteX3" fmla="*/ 0 w 249"/>
                <a:gd name="connsiteY3" fmla="*/ 46 h 172"/>
                <a:gd name="connsiteX4" fmla="*/ 241 w 249"/>
                <a:gd name="connsiteY4" fmla="*/ 172 h 172"/>
                <a:gd name="connsiteX5" fmla="*/ 248 w 249"/>
                <a:gd name="connsiteY5" fmla="*/ 172 h 172"/>
                <a:gd name="connsiteX6" fmla="*/ 249 w 249"/>
                <a:gd name="connsiteY6" fmla="*/ 78 h 172"/>
                <a:gd name="connsiteX0" fmla="*/ 249 w 249"/>
                <a:gd name="connsiteY0" fmla="*/ 78 h 172"/>
                <a:gd name="connsiteX1" fmla="*/ 142 w 249"/>
                <a:gd name="connsiteY1" fmla="*/ 51 h 172"/>
                <a:gd name="connsiteX2" fmla="*/ 84 w 249"/>
                <a:gd name="connsiteY2" fmla="*/ 0 h 172"/>
                <a:gd name="connsiteX3" fmla="*/ 0 w 249"/>
                <a:gd name="connsiteY3" fmla="*/ 46 h 172"/>
                <a:gd name="connsiteX4" fmla="*/ 241 w 249"/>
                <a:gd name="connsiteY4" fmla="*/ 172 h 172"/>
                <a:gd name="connsiteX5" fmla="*/ 248 w 249"/>
                <a:gd name="connsiteY5" fmla="*/ 172 h 172"/>
                <a:gd name="connsiteX6" fmla="*/ 249 w 249"/>
                <a:gd name="connsiteY6" fmla="*/ 78 h 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 h="172">
                  <a:moveTo>
                    <a:pt x="249" y="78"/>
                  </a:moveTo>
                  <a:cubicBezTo>
                    <a:pt x="213" y="79"/>
                    <a:pt x="176" y="71"/>
                    <a:pt x="142" y="51"/>
                  </a:cubicBezTo>
                  <a:cubicBezTo>
                    <a:pt x="119" y="38"/>
                    <a:pt x="99" y="20"/>
                    <a:pt x="84" y="0"/>
                  </a:cubicBezTo>
                  <a:cubicBezTo>
                    <a:pt x="56" y="15"/>
                    <a:pt x="28" y="31"/>
                    <a:pt x="0" y="46"/>
                  </a:cubicBezTo>
                  <a:cubicBezTo>
                    <a:pt x="53" y="122"/>
                    <a:pt x="141" y="172"/>
                    <a:pt x="241" y="172"/>
                  </a:cubicBezTo>
                  <a:lnTo>
                    <a:pt x="248" y="172"/>
                  </a:lnTo>
                  <a:cubicBezTo>
                    <a:pt x="248" y="141"/>
                    <a:pt x="249" y="109"/>
                    <a:pt x="249" y="78"/>
                  </a:cubicBezTo>
                  <a:close/>
                </a:path>
              </a:pathLst>
            </a:custGeom>
            <a:solidFill>
              <a:srgbClr val="4F2D7F"/>
            </a:solidFill>
            <a:ln w="15875">
              <a:solidFill>
                <a:srgbClr val="E6E6E6"/>
              </a:solidFill>
              <a:round/>
              <a:headEnd/>
              <a:tailEnd/>
            </a:ln>
            <a:sp3d extrusionH="127000"/>
          </p:spPr>
          <p:txBody>
            <a:bodyPr/>
            <a:lstStyle/>
            <a:p>
              <a:endParaRPr lang="de-DE" sz="1200"/>
            </a:p>
          </p:txBody>
        </p:sp>
        <p:sp>
          <p:nvSpPr>
            <p:cNvPr id="31" name="Freeform 16" descr="© INSCALE GmbH, 26.05.2010&#10;http://www.presentationload.com/"/>
            <p:cNvSpPr>
              <a:spLocks/>
            </p:cNvSpPr>
            <p:nvPr>
              <p:custDataLst>
                <p:tags r:id="rId4"/>
              </p:custDataLst>
            </p:nvPr>
          </p:nvSpPr>
          <p:spPr bwMode="gray">
            <a:xfrm>
              <a:off x="5589588" y="2767013"/>
              <a:ext cx="746125" cy="1668152"/>
            </a:xfrm>
            <a:custGeom>
              <a:avLst/>
              <a:gdLst>
                <a:gd name="connsiteX0" fmla="*/ 0 w 125"/>
                <a:gd name="connsiteY0" fmla="*/ 48 h 279"/>
                <a:gd name="connsiteX1" fmla="*/ 15 w 125"/>
                <a:gd name="connsiteY1" fmla="*/ 229 h 279"/>
                <a:gd name="connsiteX2" fmla="*/ 97 w 125"/>
                <a:gd name="connsiteY2" fmla="*/ 279 h 279"/>
                <a:gd name="connsiteX3" fmla="*/ 125 w 125"/>
                <a:gd name="connsiteY3" fmla="*/ 153 h 279"/>
                <a:gd name="connsiteX4" fmla="*/ 82 w 125"/>
                <a:gd name="connsiteY4" fmla="*/ 0 h 279"/>
                <a:gd name="connsiteX5" fmla="*/ 61 w 125"/>
                <a:gd name="connsiteY5" fmla="*/ 60 h 279"/>
                <a:gd name="connsiteX6" fmla="*/ 0 w 125"/>
                <a:gd name="connsiteY6" fmla="*/ 48 h 279"/>
                <a:gd name="connsiteX0" fmla="*/ 0 w 125"/>
                <a:gd name="connsiteY0" fmla="*/ 48 h 279"/>
                <a:gd name="connsiteX1" fmla="*/ 15 w 125"/>
                <a:gd name="connsiteY1" fmla="*/ 229 h 279"/>
                <a:gd name="connsiteX2" fmla="*/ 97 w 125"/>
                <a:gd name="connsiteY2" fmla="*/ 279 h 279"/>
                <a:gd name="connsiteX3" fmla="*/ 125 w 125"/>
                <a:gd name="connsiteY3" fmla="*/ 153 h 279"/>
                <a:gd name="connsiteX4" fmla="*/ 82 w 125"/>
                <a:gd name="connsiteY4" fmla="*/ 0 h 279"/>
                <a:gd name="connsiteX5" fmla="*/ 61 w 125"/>
                <a:gd name="connsiteY5" fmla="*/ 60 h 279"/>
                <a:gd name="connsiteX6" fmla="*/ 0 w 125"/>
                <a:gd name="connsiteY6" fmla="*/ 48 h 279"/>
                <a:gd name="connsiteX0" fmla="*/ 0 w 125"/>
                <a:gd name="connsiteY0" fmla="*/ 48 h 279"/>
                <a:gd name="connsiteX1" fmla="*/ 15 w 125"/>
                <a:gd name="connsiteY1" fmla="*/ 229 h 279"/>
                <a:gd name="connsiteX2" fmla="*/ 97 w 125"/>
                <a:gd name="connsiteY2" fmla="*/ 279 h 279"/>
                <a:gd name="connsiteX3" fmla="*/ 125 w 125"/>
                <a:gd name="connsiteY3" fmla="*/ 153 h 279"/>
                <a:gd name="connsiteX4" fmla="*/ 82 w 125"/>
                <a:gd name="connsiteY4" fmla="*/ 0 h 279"/>
                <a:gd name="connsiteX5" fmla="*/ 0 w 125"/>
                <a:gd name="connsiteY5" fmla="*/ 48 h 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 h="279">
                  <a:moveTo>
                    <a:pt x="0" y="48"/>
                  </a:moveTo>
                  <a:cubicBezTo>
                    <a:pt x="34" y="101"/>
                    <a:pt x="41" y="169"/>
                    <a:pt x="15" y="229"/>
                  </a:cubicBezTo>
                  <a:cubicBezTo>
                    <a:pt x="42" y="246"/>
                    <a:pt x="70" y="262"/>
                    <a:pt x="97" y="279"/>
                  </a:cubicBezTo>
                  <a:cubicBezTo>
                    <a:pt x="115" y="241"/>
                    <a:pt x="125" y="198"/>
                    <a:pt x="125" y="153"/>
                  </a:cubicBezTo>
                  <a:cubicBezTo>
                    <a:pt x="125" y="97"/>
                    <a:pt x="109" y="45"/>
                    <a:pt x="82" y="0"/>
                  </a:cubicBezTo>
                  <a:lnTo>
                    <a:pt x="0" y="48"/>
                  </a:lnTo>
                  <a:close/>
                </a:path>
              </a:pathLst>
            </a:custGeom>
            <a:gradFill>
              <a:gsLst>
                <a:gs pos="0">
                  <a:schemeClr val="accent1"/>
                </a:gs>
                <a:gs pos="100000">
                  <a:schemeClr val="accent1">
                    <a:lumMod val="75000"/>
                  </a:schemeClr>
                </a:gs>
              </a:gsLst>
            </a:gradFill>
            <a:ln w="15875">
              <a:noFill/>
              <a:round/>
              <a:headEnd/>
              <a:tailEnd/>
            </a:ln>
            <a:sp3d extrusionH="127000"/>
          </p:spPr>
          <p:txBody>
            <a:bodyPr/>
            <a:lstStyle/>
            <a:p>
              <a:endParaRPr lang="de-DE" sz="1200"/>
            </a:p>
          </p:txBody>
        </p:sp>
        <p:sp>
          <p:nvSpPr>
            <p:cNvPr id="32" name="Freeform 17" descr="© INSCALE GmbH, 26.05.2010&#10;http://www.presentationload.com/"/>
            <p:cNvSpPr>
              <a:spLocks/>
            </p:cNvSpPr>
            <p:nvPr>
              <p:custDataLst>
                <p:tags r:id="rId5"/>
              </p:custDataLst>
            </p:nvPr>
          </p:nvSpPr>
          <p:spPr bwMode="gray">
            <a:xfrm>
              <a:off x="4723961" y="4237038"/>
              <a:ext cx="1395853" cy="1190625"/>
            </a:xfrm>
            <a:custGeom>
              <a:avLst/>
              <a:gdLst>
                <a:gd name="connsiteX0" fmla="*/ 151 w 233"/>
                <a:gd name="connsiteY0" fmla="*/ 0 h 199"/>
                <a:gd name="connsiteX1" fmla="*/ 148 w 233"/>
                <a:gd name="connsiteY1" fmla="*/ 6 h 199"/>
                <a:gd name="connsiteX2" fmla="*/ 3 w 233"/>
                <a:gd name="connsiteY2" fmla="*/ 104 h 199"/>
                <a:gd name="connsiteX3" fmla="*/ 0 w 233"/>
                <a:gd name="connsiteY3" fmla="*/ 199 h 199"/>
                <a:gd name="connsiteX4" fmla="*/ 233 w 233"/>
                <a:gd name="connsiteY4" fmla="*/ 48 h 199"/>
                <a:gd name="connsiteX5" fmla="*/ 172 w 233"/>
                <a:gd name="connsiteY5" fmla="*/ 60 h 199"/>
                <a:gd name="connsiteX6" fmla="*/ 151 w 233"/>
                <a:gd name="connsiteY6" fmla="*/ 0 h 199"/>
                <a:gd name="connsiteX0" fmla="*/ 151 w 233"/>
                <a:gd name="connsiteY0" fmla="*/ 0 h 199"/>
                <a:gd name="connsiteX1" fmla="*/ 148 w 233"/>
                <a:gd name="connsiteY1" fmla="*/ 6 h 199"/>
                <a:gd name="connsiteX2" fmla="*/ 3 w 233"/>
                <a:gd name="connsiteY2" fmla="*/ 104 h 199"/>
                <a:gd name="connsiteX3" fmla="*/ 0 w 233"/>
                <a:gd name="connsiteY3" fmla="*/ 199 h 199"/>
                <a:gd name="connsiteX4" fmla="*/ 233 w 233"/>
                <a:gd name="connsiteY4" fmla="*/ 48 h 199"/>
                <a:gd name="connsiteX5" fmla="*/ 151 w 233"/>
                <a:gd name="connsiteY5" fmla="*/ 0 h 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 h="199">
                  <a:moveTo>
                    <a:pt x="151" y="0"/>
                  </a:moveTo>
                  <a:lnTo>
                    <a:pt x="148" y="6"/>
                  </a:lnTo>
                  <a:cubicBezTo>
                    <a:pt x="116" y="62"/>
                    <a:pt x="61" y="96"/>
                    <a:pt x="3" y="104"/>
                  </a:cubicBezTo>
                  <a:cubicBezTo>
                    <a:pt x="2" y="136"/>
                    <a:pt x="1" y="167"/>
                    <a:pt x="0" y="199"/>
                  </a:cubicBezTo>
                  <a:cubicBezTo>
                    <a:pt x="101" y="191"/>
                    <a:pt x="187" y="132"/>
                    <a:pt x="233" y="48"/>
                  </a:cubicBezTo>
                  <a:lnTo>
                    <a:pt x="151" y="0"/>
                  </a:lnTo>
                  <a:close/>
                </a:path>
              </a:pathLst>
            </a:custGeom>
            <a:solidFill>
              <a:srgbClr val="4F2D7F"/>
            </a:solidFill>
            <a:ln w="15875">
              <a:solidFill>
                <a:srgbClr val="E6E6E6"/>
              </a:solidFill>
              <a:round/>
              <a:headEnd/>
              <a:tailEnd/>
            </a:ln>
            <a:sp3d extrusionH="127000"/>
          </p:spPr>
          <p:txBody>
            <a:bodyPr/>
            <a:lstStyle/>
            <a:p>
              <a:endParaRPr lang="de-DE" sz="1200"/>
            </a:p>
          </p:txBody>
        </p:sp>
        <p:sp>
          <p:nvSpPr>
            <p:cNvPr id="33" name="Freeform 18" descr="© INSCALE GmbH, 26.05.2010&#10;http://www.presentationload.com/"/>
            <p:cNvSpPr>
              <a:spLocks/>
            </p:cNvSpPr>
            <p:nvPr>
              <p:custDataLst>
                <p:tags r:id="rId6"/>
              </p:custDataLst>
            </p:nvPr>
          </p:nvSpPr>
          <p:spPr bwMode="gray">
            <a:xfrm>
              <a:off x="3043238" y="1935163"/>
              <a:ext cx="1395853" cy="1190625"/>
            </a:xfrm>
            <a:custGeom>
              <a:avLst/>
              <a:gdLst>
                <a:gd name="connsiteX0" fmla="*/ 82 w 233"/>
                <a:gd name="connsiteY0" fmla="*/ 199 h 199"/>
                <a:gd name="connsiteX1" fmla="*/ 85 w 233"/>
                <a:gd name="connsiteY1" fmla="*/ 193 h 199"/>
                <a:gd name="connsiteX2" fmla="*/ 231 w 233"/>
                <a:gd name="connsiteY2" fmla="*/ 96 h 199"/>
                <a:gd name="connsiteX3" fmla="*/ 233 w 233"/>
                <a:gd name="connsiteY3" fmla="*/ 0 h 199"/>
                <a:gd name="connsiteX4" fmla="*/ 0 w 233"/>
                <a:gd name="connsiteY4" fmla="*/ 152 h 199"/>
                <a:gd name="connsiteX5" fmla="*/ 62 w 233"/>
                <a:gd name="connsiteY5" fmla="*/ 139 h 199"/>
                <a:gd name="connsiteX6" fmla="*/ 82 w 233"/>
                <a:gd name="connsiteY6" fmla="*/ 199 h 199"/>
                <a:gd name="connsiteX0" fmla="*/ 82 w 233"/>
                <a:gd name="connsiteY0" fmla="*/ 199 h 199"/>
                <a:gd name="connsiteX1" fmla="*/ 85 w 233"/>
                <a:gd name="connsiteY1" fmla="*/ 193 h 199"/>
                <a:gd name="connsiteX2" fmla="*/ 231 w 233"/>
                <a:gd name="connsiteY2" fmla="*/ 96 h 199"/>
                <a:gd name="connsiteX3" fmla="*/ 233 w 233"/>
                <a:gd name="connsiteY3" fmla="*/ 0 h 199"/>
                <a:gd name="connsiteX4" fmla="*/ 0 w 233"/>
                <a:gd name="connsiteY4" fmla="*/ 152 h 199"/>
                <a:gd name="connsiteX5" fmla="*/ 62 w 233"/>
                <a:gd name="connsiteY5" fmla="*/ 139 h 199"/>
                <a:gd name="connsiteX6" fmla="*/ 82 w 233"/>
                <a:gd name="connsiteY6" fmla="*/ 199 h 199"/>
                <a:gd name="connsiteX0" fmla="*/ 107 w 258"/>
                <a:gd name="connsiteY0" fmla="*/ 199 h 199"/>
                <a:gd name="connsiteX1" fmla="*/ 110 w 258"/>
                <a:gd name="connsiteY1" fmla="*/ 193 h 199"/>
                <a:gd name="connsiteX2" fmla="*/ 256 w 258"/>
                <a:gd name="connsiteY2" fmla="*/ 96 h 199"/>
                <a:gd name="connsiteX3" fmla="*/ 258 w 258"/>
                <a:gd name="connsiteY3" fmla="*/ 0 h 199"/>
                <a:gd name="connsiteX4" fmla="*/ 25 w 258"/>
                <a:gd name="connsiteY4" fmla="*/ 152 h 199"/>
                <a:gd name="connsiteX5" fmla="*/ 107 w 258"/>
                <a:gd name="connsiteY5" fmla="*/ 199 h 199"/>
                <a:gd name="connsiteX0" fmla="*/ 82 w 233"/>
                <a:gd name="connsiteY0" fmla="*/ 199 h 199"/>
                <a:gd name="connsiteX1" fmla="*/ 85 w 233"/>
                <a:gd name="connsiteY1" fmla="*/ 193 h 199"/>
                <a:gd name="connsiteX2" fmla="*/ 231 w 233"/>
                <a:gd name="connsiteY2" fmla="*/ 96 h 199"/>
                <a:gd name="connsiteX3" fmla="*/ 233 w 233"/>
                <a:gd name="connsiteY3" fmla="*/ 0 h 199"/>
                <a:gd name="connsiteX4" fmla="*/ 0 w 233"/>
                <a:gd name="connsiteY4" fmla="*/ 152 h 199"/>
                <a:gd name="connsiteX5" fmla="*/ 82 w 233"/>
                <a:gd name="connsiteY5" fmla="*/ 199 h 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 h="199">
                  <a:moveTo>
                    <a:pt x="82" y="199"/>
                  </a:moveTo>
                  <a:lnTo>
                    <a:pt x="85" y="193"/>
                  </a:lnTo>
                  <a:cubicBezTo>
                    <a:pt x="117" y="138"/>
                    <a:pt x="172" y="103"/>
                    <a:pt x="231" y="96"/>
                  </a:cubicBezTo>
                  <a:cubicBezTo>
                    <a:pt x="232" y="64"/>
                    <a:pt x="232" y="32"/>
                    <a:pt x="233" y="0"/>
                  </a:cubicBezTo>
                  <a:cubicBezTo>
                    <a:pt x="133" y="9"/>
                    <a:pt x="46" y="68"/>
                    <a:pt x="0" y="152"/>
                  </a:cubicBezTo>
                  <a:cubicBezTo>
                    <a:pt x="27" y="168"/>
                    <a:pt x="55" y="183"/>
                    <a:pt x="82" y="199"/>
                  </a:cubicBezTo>
                  <a:close/>
                </a:path>
              </a:pathLst>
            </a:custGeom>
            <a:solidFill>
              <a:srgbClr val="4F2D7F"/>
            </a:solidFill>
            <a:ln w="15875">
              <a:solidFill>
                <a:srgbClr val="E6E6E6"/>
              </a:solidFill>
              <a:round/>
              <a:headEnd/>
              <a:tailEnd/>
            </a:ln>
            <a:sp3d extrusionH="127000"/>
          </p:spPr>
          <p:txBody>
            <a:bodyPr/>
            <a:lstStyle/>
            <a:p>
              <a:endParaRPr lang="de-DE" sz="1200"/>
            </a:p>
          </p:txBody>
        </p:sp>
      </p:grpSp>
      <p:sp>
        <p:nvSpPr>
          <p:cNvPr id="2" name="Title 1"/>
          <p:cNvSpPr>
            <a:spLocks noGrp="1"/>
          </p:cNvSpPr>
          <p:nvPr>
            <p:ph type="title"/>
          </p:nvPr>
        </p:nvSpPr>
        <p:spPr/>
        <p:txBody>
          <a:bodyPr/>
          <a:lstStyle/>
          <a:p>
            <a:r>
              <a:rPr lang="en-US" dirty="0"/>
              <a:t>DLP collaboration</a:t>
            </a:r>
          </a:p>
        </p:txBody>
      </p:sp>
      <p:sp>
        <p:nvSpPr>
          <p:cNvPr id="3" name="Slide Number Placeholder 2"/>
          <p:cNvSpPr>
            <a:spLocks noGrp="1"/>
          </p:cNvSpPr>
          <p:nvPr>
            <p:ph type="sldNum" sz="quarter" idx="4"/>
          </p:nvPr>
        </p:nvSpPr>
        <p:spPr/>
        <p:txBody>
          <a:bodyPr/>
          <a:lstStyle/>
          <a:p>
            <a:fld id="{0E0C512C-2A69-4D15-9349-877CDA6B8ABD}" type="slidenum">
              <a:rPr lang="en-GB" smtClean="0"/>
              <a:pPr/>
              <a:t>22</a:t>
            </a:fld>
            <a:endParaRPr lang="en-GB" dirty="0"/>
          </a:p>
        </p:txBody>
      </p:sp>
      <p:grpSp>
        <p:nvGrpSpPr>
          <p:cNvPr id="4" name="Gruppieren 24"/>
          <p:cNvGrpSpPr/>
          <p:nvPr/>
        </p:nvGrpSpPr>
        <p:grpSpPr>
          <a:xfrm>
            <a:off x="1234852" y="1396941"/>
            <a:ext cx="1798947" cy="1006878"/>
            <a:chOff x="693477" y="1555200"/>
            <a:chExt cx="2611217" cy="1520262"/>
          </a:xfrm>
        </p:grpSpPr>
        <p:sp>
          <p:nvSpPr>
            <p:cNvPr id="5" name="Text Box 13"/>
            <p:cNvSpPr txBox="1">
              <a:spLocks noChangeArrowheads="1"/>
            </p:cNvSpPr>
            <p:nvPr/>
          </p:nvSpPr>
          <p:spPr bwMode="gray">
            <a:xfrm>
              <a:off x="693477" y="1555200"/>
              <a:ext cx="2611217" cy="1520262"/>
            </a:xfrm>
            <a:prstGeom prst="rect">
              <a:avLst/>
            </a:prstGeom>
            <a:noFill/>
            <a:ln w="9525" algn="ctr">
              <a:noFill/>
              <a:miter lim="800000"/>
              <a:headEnd/>
              <a:tailEnd/>
            </a:ln>
          </p:spPr>
          <p:txBody>
            <a:bodyPr wrap="square" lIns="0" tIns="67500" rIns="54000" bIns="0">
              <a:spAutoFit/>
            </a:bodyPr>
            <a:lstStyle/>
            <a:p>
              <a:pPr algn="r" defTabSz="601251"/>
              <a:r>
                <a:rPr lang="en-US" sz="1400" b="1" dirty="0"/>
                <a:t>Information Governance</a:t>
              </a:r>
            </a:p>
            <a:p>
              <a:pPr algn="r" defTabSz="601251"/>
              <a:r>
                <a:rPr lang="en-US" sz="1100" dirty="0">
                  <a:solidFill>
                    <a:schemeClr val="tx1">
                      <a:lumMod val="50000"/>
                      <a:lumOff val="50000"/>
                    </a:schemeClr>
                  </a:solidFill>
                </a:rPr>
                <a:t>Implement and enforce data classification policy labels to enable DLP tracking</a:t>
              </a:r>
            </a:p>
          </p:txBody>
        </p:sp>
        <p:cxnSp>
          <p:nvCxnSpPr>
            <p:cNvPr id="6" name="Gerade Verbindung 26"/>
            <p:cNvCxnSpPr/>
            <p:nvPr/>
          </p:nvCxnSpPr>
          <p:spPr bwMode="gray">
            <a:xfrm>
              <a:off x="3304694" y="1706851"/>
              <a:ext cx="0" cy="1335607"/>
            </a:xfrm>
            <a:prstGeom prst="line">
              <a:avLst/>
            </a:prstGeom>
            <a:noFill/>
            <a:ln w="19050">
              <a:solidFill>
                <a:srgbClr val="969696"/>
              </a:solidFill>
              <a:prstDash val="sysDot"/>
              <a:round/>
              <a:headEnd/>
              <a:tailEnd/>
            </a:ln>
          </p:spPr>
        </p:cxnSp>
      </p:grpSp>
      <p:grpSp>
        <p:nvGrpSpPr>
          <p:cNvPr id="7" name="Gruppieren 27"/>
          <p:cNvGrpSpPr/>
          <p:nvPr/>
        </p:nvGrpSpPr>
        <p:grpSpPr>
          <a:xfrm>
            <a:off x="5555844" y="1356193"/>
            <a:ext cx="1564606" cy="1129988"/>
            <a:chOff x="5763353" y="1450976"/>
            <a:chExt cx="2271064" cy="1706145"/>
          </a:xfrm>
        </p:grpSpPr>
        <p:sp>
          <p:nvSpPr>
            <p:cNvPr id="8" name="Text Box 13"/>
            <p:cNvSpPr txBox="1">
              <a:spLocks noChangeArrowheads="1"/>
            </p:cNvSpPr>
            <p:nvPr/>
          </p:nvSpPr>
          <p:spPr bwMode="gray">
            <a:xfrm>
              <a:off x="5850497" y="1450976"/>
              <a:ext cx="2183920" cy="1706145"/>
            </a:xfrm>
            <a:prstGeom prst="rect">
              <a:avLst/>
            </a:prstGeom>
            <a:noFill/>
            <a:ln w="9525" algn="ctr">
              <a:noFill/>
              <a:miter lim="800000"/>
              <a:headEnd/>
              <a:tailEnd/>
            </a:ln>
          </p:spPr>
          <p:txBody>
            <a:bodyPr wrap="square" lIns="54000" tIns="67500" rIns="0" bIns="0">
              <a:spAutoFit/>
            </a:bodyPr>
            <a:lstStyle/>
            <a:p>
              <a:pPr defTabSz="601251"/>
              <a:r>
                <a:rPr lang="en-US" sz="1400" b="1" dirty="0" smtClean="0"/>
                <a:t>HR</a:t>
              </a:r>
              <a:endParaRPr lang="en-US" sz="1400" b="1" dirty="0"/>
            </a:p>
            <a:p>
              <a:pPr defTabSz="601251"/>
              <a:r>
                <a:rPr lang="en-US" sz="1100" dirty="0">
                  <a:solidFill>
                    <a:schemeClr val="tx1">
                      <a:lumMod val="50000"/>
                      <a:lumOff val="50000"/>
                    </a:schemeClr>
                  </a:solidFill>
                </a:rPr>
                <a:t>Alert Security to activate DLP controls for </a:t>
              </a:r>
              <a:r>
                <a:rPr lang="en-US" sz="1100" dirty="0" smtClean="0">
                  <a:solidFill>
                    <a:schemeClr val="tx1">
                      <a:lumMod val="50000"/>
                      <a:lumOff val="50000"/>
                    </a:schemeClr>
                  </a:solidFill>
                </a:rPr>
                <a:t>terminated </a:t>
              </a:r>
              <a:r>
                <a:rPr lang="en-US" sz="1100" dirty="0">
                  <a:solidFill>
                    <a:schemeClr val="tx1">
                      <a:lumMod val="50000"/>
                      <a:lumOff val="50000"/>
                    </a:schemeClr>
                  </a:solidFill>
                </a:rPr>
                <a:t>employees, assist with HR policy violations.</a:t>
              </a:r>
            </a:p>
          </p:txBody>
        </p:sp>
        <p:cxnSp>
          <p:nvCxnSpPr>
            <p:cNvPr id="9" name="Gerade Verbindung 29"/>
            <p:cNvCxnSpPr/>
            <p:nvPr/>
          </p:nvCxnSpPr>
          <p:spPr bwMode="gray">
            <a:xfrm flipV="1">
              <a:off x="5763353" y="1724450"/>
              <a:ext cx="0" cy="1318008"/>
            </a:xfrm>
            <a:prstGeom prst="line">
              <a:avLst/>
            </a:prstGeom>
            <a:noFill/>
            <a:ln w="19050">
              <a:solidFill>
                <a:srgbClr val="969696"/>
              </a:solidFill>
              <a:prstDash val="sysDot"/>
              <a:round/>
              <a:headEnd/>
              <a:tailEnd/>
            </a:ln>
          </p:spPr>
        </p:cxnSp>
      </p:grpSp>
      <p:sp>
        <p:nvSpPr>
          <p:cNvPr id="10" name="Text Box 13"/>
          <p:cNvSpPr txBox="1">
            <a:spLocks noChangeArrowheads="1"/>
          </p:cNvSpPr>
          <p:nvPr/>
        </p:nvSpPr>
        <p:spPr bwMode="gray">
          <a:xfrm>
            <a:off x="4153261" y="704828"/>
            <a:ext cx="1612607" cy="791434"/>
          </a:xfrm>
          <a:prstGeom prst="rect">
            <a:avLst/>
          </a:prstGeom>
          <a:noFill/>
          <a:ln w="9525" algn="ctr">
            <a:noFill/>
            <a:miter lim="800000"/>
            <a:headEnd/>
            <a:tailEnd/>
          </a:ln>
        </p:spPr>
        <p:txBody>
          <a:bodyPr wrap="square" lIns="54000" tIns="67500" rIns="0" bIns="0">
            <a:spAutoFit/>
          </a:bodyPr>
          <a:lstStyle/>
          <a:p>
            <a:pPr defTabSz="601251"/>
            <a:r>
              <a:rPr lang="en-US" sz="1400" b="1" dirty="0"/>
              <a:t>Security </a:t>
            </a:r>
            <a:r>
              <a:rPr lang="en-US" sz="1100" dirty="0">
                <a:solidFill>
                  <a:prstClr val="black"/>
                </a:solidFill>
              </a:rPr>
              <a:t/>
            </a:r>
            <a:br>
              <a:rPr lang="en-US" sz="1100" dirty="0">
                <a:solidFill>
                  <a:prstClr val="black"/>
                </a:solidFill>
              </a:rPr>
            </a:br>
            <a:r>
              <a:rPr lang="en-US" sz="1100" dirty="0">
                <a:solidFill>
                  <a:schemeClr val="tx1">
                    <a:lumMod val="50000"/>
                    <a:lumOff val="50000"/>
                  </a:schemeClr>
                </a:solidFill>
              </a:rPr>
              <a:t>Manage DLP solution, implement policies, escalate incidents</a:t>
            </a:r>
          </a:p>
        </p:txBody>
      </p:sp>
      <p:grpSp>
        <p:nvGrpSpPr>
          <p:cNvPr id="11" name="Gruppieren 31"/>
          <p:cNvGrpSpPr/>
          <p:nvPr/>
        </p:nvGrpSpPr>
        <p:grpSpPr>
          <a:xfrm>
            <a:off x="1238404" y="2715257"/>
            <a:ext cx="1621492" cy="1006878"/>
            <a:chOff x="1278098" y="1521761"/>
            <a:chExt cx="2353636" cy="1520264"/>
          </a:xfrm>
        </p:grpSpPr>
        <p:sp>
          <p:nvSpPr>
            <p:cNvPr id="12" name="Text Box 13"/>
            <p:cNvSpPr txBox="1">
              <a:spLocks noChangeArrowheads="1"/>
            </p:cNvSpPr>
            <p:nvPr/>
          </p:nvSpPr>
          <p:spPr bwMode="gray">
            <a:xfrm>
              <a:off x="1285872" y="1521761"/>
              <a:ext cx="2345862" cy="1520264"/>
            </a:xfrm>
            <a:prstGeom prst="rect">
              <a:avLst/>
            </a:prstGeom>
            <a:noFill/>
            <a:ln w="9525" algn="ctr">
              <a:noFill/>
              <a:miter lim="800000"/>
              <a:headEnd/>
              <a:tailEnd/>
            </a:ln>
          </p:spPr>
          <p:txBody>
            <a:bodyPr wrap="square" lIns="0" tIns="67500" rIns="54000" bIns="0">
              <a:spAutoFit/>
            </a:bodyPr>
            <a:lstStyle/>
            <a:p>
              <a:pPr defTabSz="601251"/>
              <a:r>
                <a:rPr lang="en-US" sz="1400" b="1" dirty="0"/>
                <a:t>Service Line Groups</a:t>
              </a:r>
              <a:r>
                <a:rPr lang="en-US" sz="1100" dirty="0">
                  <a:solidFill>
                    <a:prstClr val="black"/>
                  </a:solidFill>
                </a:rPr>
                <a:t/>
              </a:r>
              <a:br>
                <a:rPr lang="en-US" sz="1100" dirty="0">
                  <a:solidFill>
                    <a:prstClr val="black"/>
                  </a:solidFill>
                </a:rPr>
              </a:br>
              <a:r>
                <a:rPr lang="en-US" sz="1100" dirty="0">
                  <a:solidFill>
                    <a:schemeClr val="tx1">
                      <a:lumMod val="50000"/>
                      <a:lumOff val="50000"/>
                    </a:schemeClr>
                  </a:solidFill>
                </a:rPr>
                <a:t>Identify sensitive data locations for DLP tracking</a:t>
              </a:r>
            </a:p>
          </p:txBody>
        </p:sp>
        <p:cxnSp>
          <p:nvCxnSpPr>
            <p:cNvPr id="13" name="Gerade Verbindung 33"/>
            <p:cNvCxnSpPr/>
            <p:nvPr/>
          </p:nvCxnSpPr>
          <p:spPr bwMode="gray">
            <a:xfrm flipH="1">
              <a:off x="1278098" y="1593301"/>
              <a:ext cx="1877842" cy="0"/>
            </a:xfrm>
            <a:prstGeom prst="line">
              <a:avLst/>
            </a:prstGeom>
            <a:noFill/>
            <a:ln w="19050">
              <a:solidFill>
                <a:srgbClr val="969696"/>
              </a:solidFill>
              <a:prstDash val="sysDot"/>
              <a:round/>
              <a:headEnd/>
              <a:tailEnd/>
            </a:ln>
          </p:spPr>
        </p:cxnSp>
      </p:grpSp>
      <p:grpSp>
        <p:nvGrpSpPr>
          <p:cNvPr id="14" name="Gruppieren 34"/>
          <p:cNvGrpSpPr/>
          <p:nvPr/>
        </p:nvGrpSpPr>
        <p:grpSpPr>
          <a:xfrm>
            <a:off x="5305598" y="3425309"/>
            <a:ext cx="1626091" cy="1086312"/>
            <a:chOff x="794215" y="1192122"/>
            <a:chExt cx="2360313" cy="887070"/>
          </a:xfrm>
        </p:grpSpPr>
        <p:sp>
          <p:nvSpPr>
            <p:cNvPr id="15" name="Text Box 13"/>
            <p:cNvSpPr txBox="1">
              <a:spLocks noChangeArrowheads="1"/>
            </p:cNvSpPr>
            <p:nvPr/>
          </p:nvSpPr>
          <p:spPr bwMode="gray">
            <a:xfrm>
              <a:off x="800888" y="1488574"/>
              <a:ext cx="2353640" cy="590618"/>
            </a:xfrm>
            <a:prstGeom prst="rect">
              <a:avLst/>
            </a:prstGeom>
            <a:noFill/>
            <a:ln w="9525" algn="ctr">
              <a:noFill/>
              <a:miter lim="800000"/>
              <a:headEnd/>
              <a:tailEnd/>
            </a:ln>
          </p:spPr>
          <p:txBody>
            <a:bodyPr wrap="square" lIns="67500" tIns="0" rIns="0" bIns="0">
              <a:spAutoFit/>
            </a:bodyPr>
            <a:lstStyle/>
            <a:p>
              <a:pPr lvl="0" defTabSz="601251"/>
              <a:r>
                <a:rPr lang="en-US" sz="1400" b="1" dirty="0">
                  <a:solidFill>
                    <a:prstClr val="black"/>
                  </a:solidFill>
                </a:rPr>
                <a:t>Legal</a:t>
              </a:r>
            </a:p>
            <a:p>
              <a:pPr lvl="0" defTabSz="601251"/>
              <a:r>
                <a:rPr lang="en-US" sz="1100" dirty="0">
                  <a:solidFill>
                    <a:prstClr val="black">
                      <a:lumMod val="50000"/>
                      <a:lumOff val="50000"/>
                    </a:prstClr>
                  </a:solidFill>
                </a:rPr>
                <a:t>Assist with sensitive data discovery/quarantine and incident response</a:t>
              </a:r>
            </a:p>
          </p:txBody>
        </p:sp>
        <p:cxnSp>
          <p:nvCxnSpPr>
            <p:cNvPr id="16" name="Gerade Verbindung 36"/>
            <p:cNvCxnSpPr/>
            <p:nvPr/>
          </p:nvCxnSpPr>
          <p:spPr bwMode="gray">
            <a:xfrm flipV="1">
              <a:off x="794215" y="1192122"/>
              <a:ext cx="0" cy="695589"/>
            </a:xfrm>
            <a:prstGeom prst="line">
              <a:avLst/>
            </a:prstGeom>
            <a:noFill/>
            <a:ln w="19050">
              <a:solidFill>
                <a:srgbClr val="969696"/>
              </a:solidFill>
              <a:prstDash val="sysDot"/>
              <a:round/>
              <a:headEnd/>
              <a:tailEnd/>
            </a:ln>
          </p:spPr>
        </p:cxnSp>
      </p:grpSp>
      <p:grpSp>
        <p:nvGrpSpPr>
          <p:cNvPr id="17" name="Group 16"/>
          <p:cNvGrpSpPr/>
          <p:nvPr/>
        </p:nvGrpSpPr>
        <p:grpSpPr>
          <a:xfrm>
            <a:off x="3441850" y="1570191"/>
            <a:ext cx="1676413" cy="1749948"/>
            <a:chOff x="3356907" y="1556467"/>
            <a:chExt cx="2327274" cy="2473500"/>
          </a:xfrm>
        </p:grpSpPr>
        <p:pic>
          <p:nvPicPr>
            <p:cNvPr id="18" name="Picture 17" descr="PPP_CSILO_CLP_silhouette_black_14.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56907" y="2201167"/>
              <a:ext cx="65246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PPP_CSILO_CLP_silhouette_black_19.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91994" y="1556467"/>
              <a:ext cx="57467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PPP_CSILO_CLP_silhouette_black_13.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79331" y="2165855"/>
              <a:ext cx="70485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descr="PPP_CSILO_CLP_silhouette_black_04.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20179" y="2090448"/>
              <a:ext cx="78422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1" descr="PPP_CSILO_CLP_silhouette_black_06.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799491" y="1762765"/>
              <a:ext cx="63976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 name="Gruppieren 21"/>
          <p:cNvGrpSpPr/>
          <p:nvPr/>
        </p:nvGrpSpPr>
        <p:grpSpPr>
          <a:xfrm>
            <a:off x="2774804" y="3472296"/>
            <a:ext cx="1797196" cy="1253687"/>
            <a:chOff x="696018" y="877626"/>
            <a:chExt cx="2608676" cy="1892925"/>
          </a:xfrm>
        </p:grpSpPr>
        <p:sp>
          <p:nvSpPr>
            <p:cNvPr id="24" name="Text Box 13"/>
            <p:cNvSpPr txBox="1">
              <a:spLocks noChangeArrowheads="1"/>
            </p:cNvSpPr>
            <p:nvPr/>
          </p:nvSpPr>
          <p:spPr bwMode="gray">
            <a:xfrm>
              <a:off x="696018" y="1353192"/>
              <a:ext cx="2608676" cy="1417359"/>
            </a:xfrm>
            <a:prstGeom prst="rect">
              <a:avLst/>
            </a:prstGeom>
            <a:noFill/>
            <a:ln w="9525" algn="ctr">
              <a:noFill/>
              <a:miter lim="800000"/>
              <a:headEnd/>
              <a:tailEnd/>
            </a:ln>
          </p:spPr>
          <p:txBody>
            <a:bodyPr wrap="square" lIns="0" tIns="0" rIns="67500" bIns="0">
              <a:spAutoFit/>
            </a:bodyPr>
            <a:lstStyle/>
            <a:p>
              <a:pPr algn="r" defTabSz="601251"/>
              <a:r>
                <a:rPr lang="en-US" sz="1400" b="1" dirty="0"/>
                <a:t>Business Technology Leaders</a:t>
              </a:r>
            </a:p>
            <a:p>
              <a:pPr algn="r" defTabSz="601251"/>
              <a:r>
                <a:rPr lang="en-US" sz="1100" dirty="0">
                  <a:solidFill>
                    <a:schemeClr val="tx1">
                      <a:lumMod val="50000"/>
                      <a:lumOff val="50000"/>
                    </a:schemeClr>
                  </a:solidFill>
                </a:rPr>
                <a:t>Assist with identifying service line groups which handle sensitive data</a:t>
              </a:r>
            </a:p>
          </p:txBody>
        </p:sp>
        <p:cxnSp>
          <p:nvCxnSpPr>
            <p:cNvPr id="25" name="Gerade Verbindung 23"/>
            <p:cNvCxnSpPr/>
            <p:nvPr/>
          </p:nvCxnSpPr>
          <p:spPr bwMode="gray">
            <a:xfrm>
              <a:off x="3294622" y="877626"/>
              <a:ext cx="10072" cy="1259438"/>
            </a:xfrm>
            <a:prstGeom prst="line">
              <a:avLst/>
            </a:prstGeom>
            <a:noFill/>
            <a:ln w="19050">
              <a:solidFill>
                <a:srgbClr val="969696"/>
              </a:solidFill>
              <a:prstDash val="sysDot"/>
              <a:round/>
              <a:headEnd/>
              <a:tailEnd/>
            </a:ln>
          </p:spPr>
        </p:cxnSp>
      </p:grpSp>
      <p:sp>
        <p:nvSpPr>
          <p:cNvPr id="26" name="Text Box 13"/>
          <p:cNvSpPr txBox="1">
            <a:spLocks noChangeArrowheads="1"/>
          </p:cNvSpPr>
          <p:nvPr/>
        </p:nvSpPr>
        <p:spPr bwMode="gray">
          <a:xfrm>
            <a:off x="5949266" y="2770374"/>
            <a:ext cx="1621494" cy="892552"/>
          </a:xfrm>
          <a:prstGeom prst="rect">
            <a:avLst/>
          </a:prstGeom>
          <a:noFill/>
          <a:ln w="9525" algn="ctr">
            <a:noFill/>
            <a:miter lim="800000"/>
            <a:headEnd/>
            <a:tailEnd/>
          </a:ln>
        </p:spPr>
        <p:txBody>
          <a:bodyPr wrap="square" lIns="67500" tIns="0" rIns="0" bIns="0">
            <a:spAutoFit/>
          </a:bodyPr>
          <a:lstStyle/>
          <a:p>
            <a:pPr lvl="0" defTabSz="601251"/>
            <a:r>
              <a:rPr lang="en-US" sz="1400" b="1" dirty="0">
                <a:solidFill>
                  <a:prstClr val="black"/>
                </a:solidFill>
              </a:rPr>
              <a:t>Public Sector</a:t>
            </a:r>
          </a:p>
          <a:p>
            <a:pPr lvl="0" defTabSz="601251"/>
            <a:r>
              <a:rPr lang="en-US" sz="1100" dirty="0">
                <a:solidFill>
                  <a:prstClr val="black">
                    <a:lumMod val="50000"/>
                    <a:lumOff val="50000"/>
                  </a:prstClr>
                </a:solidFill>
              </a:rPr>
              <a:t>Able to quickly implement policies  which can be leveraged by GT-US</a:t>
            </a:r>
          </a:p>
        </p:txBody>
      </p:sp>
    </p:spTree>
    <p:extLst>
      <p:ext uri="{BB962C8B-B14F-4D97-AF65-F5344CB8AC3E}">
        <p14:creationId xmlns:p14="http://schemas.microsoft.com/office/powerpoint/2010/main" val="26161353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a:t>
            </a:r>
          </a:p>
        </p:txBody>
      </p:sp>
      <p:sp>
        <p:nvSpPr>
          <p:cNvPr id="3" name="Content Placeholder 2"/>
          <p:cNvSpPr>
            <a:spLocks noGrp="1"/>
          </p:cNvSpPr>
          <p:nvPr>
            <p:ph idx="1"/>
          </p:nvPr>
        </p:nvSpPr>
        <p:spPr>
          <a:xfrm>
            <a:off x="457201" y="1181157"/>
            <a:ext cx="8229600" cy="3117339"/>
          </a:xfrm>
        </p:spPr>
        <p:txBody>
          <a:bodyPr/>
          <a:lstStyle/>
          <a:p>
            <a:r>
              <a:rPr lang="en-US" sz="2400" dirty="0"/>
              <a:t>Information governance knowledge of the business can inform information security efforts</a:t>
            </a:r>
          </a:p>
          <a:p>
            <a:r>
              <a:rPr lang="en-US" sz="2400" dirty="0"/>
              <a:t>C-level interest in information security promotes information governance visibility</a:t>
            </a:r>
          </a:p>
          <a:p>
            <a:r>
              <a:rPr lang="en-US" sz="2400" dirty="0"/>
              <a:t>Retention limits support information security</a:t>
            </a:r>
          </a:p>
          <a:p>
            <a:r>
              <a:rPr lang="en-US" sz="2400" dirty="0"/>
              <a:t>Both functions </a:t>
            </a:r>
          </a:p>
          <a:p>
            <a:pPr lvl="1">
              <a:buFont typeface="Courier New" panose="02070309020205020404" pitchFamily="49" charset="0"/>
              <a:buChar char="o"/>
            </a:pPr>
            <a:r>
              <a:rPr lang="en-US" sz="2000" dirty="0"/>
              <a:t>Must collaborate with IT, Legal, and the business</a:t>
            </a:r>
          </a:p>
          <a:p>
            <a:pPr lvl="1">
              <a:buFont typeface="Courier New" panose="02070309020205020404" pitchFamily="49" charset="0"/>
              <a:buChar char="o"/>
            </a:pPr>
            <a:r>
              <a:rPr lang="en-US" sz="2000" dirty="0"/>
              <a:t>Need to reduce risk without getting in the way of the business</a:t>
            </a:r>
          </a:p>
          <a:p>
            <a:endParaRPr lang="en-US" sz="2400" dirty="0"/>
          </a:p>
        </p:txBody>
      </p:sp>
      <p:sp>
        <p:nvSpPr>
          <p:cNvPr id="4" name="Slide Number Placeholder 3"/>
          <p:cNvSpPr>
            <a:spLocks noGrp="1"/>
          </p:cNvSpPr>
          <p:nvPr>
            <p:ph type="sldNum" sz="quarter" idx="4"/>
          </p:nvPr>
        </p:nvSpPr>
        <p:spPr/>
        <p:txBody>
          <a:bodyPr/>
          <a:lstStyle/>
          <a:p>
            <a:fld id="{0E0C512C-2A69-4D15-9349-877CDA6B8ABD}" type="slidenum">
              <a:rPr lang="en-GB" smtClean="0"/>
              <a:pPr/>
              <a:t>23</a:t>
            </a:fld>
            <a:endParaRPr lang="en-GB" dirty="0"/>
          </a:p>
        </p:txBody>
      </p:sp>
    </p:spTree>
    <p:extLst>
      <p:ext uri="{BB962C8B-B14F-4D97-AF65-F5344CB8AC3E}">
        <p14:creationId xmlns:p14="http://schemas.microsoft.com/office/powerpoint/2010/main" val="8240368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
        <p:nvSpPr>
          <p:cNvPr id="4" name="Slide Number Placeholder 3"/>
          <p:cNvSpPr>
            <a:spLocks noGrp="1"/>
          </p:cNvSpPr>
          <p:nvPr>
            <p:ph type="sldNum" sz="quarter" idx="4"/>
          </p:nvPr>
        </p:nvSpPr>
        <p:spPr/>
        <p:txBody>
          <a:bodyPr/>
          <a:lstStyle/>
          <a:p>
            <a:fld id="{0E0C512C-2A69-4D15-9349-877CDA6B8ABD}" type="slidenum">
              <a:rPr lang="en-GB" smtClean="0"/>
              <a:pPr/>
              <a:t>24</a:t>
            </a:fld>
            <a:endParaRPr lang="en-GB"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44468" y="1535204"/>
            <a:ext cx="1654150" cy="1654150"/>
          </a:xfrm>
          <a:prstGeom prst="rect">
            <a:avLst/>
          </a:prstGeom>
        </p:spPr>
      </p:pic>
      <p:sp>
        <p:nvSpPr>
          <p:cNvPr id="7" name="TextBox 6"/>
          <p:cNvSpPr txBox="1"/>
          <p:nvPr/>
        </p:nvSpPr>
        <p:spPr>
          <a:xfrm>
            <a:off x="457200" y="1645812"/>
            <a:ext cx="3500323" cy="1631216"/>
          </a:xfrm>
          <a:prstGeom prst="rect">
            <a:avLst/>
          </a:prstGeom>
          <a:noFill/>
        </p:spPr>
        <p:txBody>
          <a:bodyPr wrap="square" rtlCol="0">
            <a:spAutoFit/>
          </a:bodyPr>
          <a:lstStyle/>
          <a:p>
            <a:r>
              <a:rPr lang="en-US" sz="2000" dirty="0"/>
              <a:t>Elizabeth W. Adkins, CRM, IGP</a:t>
            </a:r>
          </a:p>
          <a:p>
            <a:r>
              <a:rPr lang="en-US" sz="2000" dirty="0"/>
              <a:t>Director, Information Governance</a:t>
            </a:r>
          </a:p>
          <a:p>
            <a:r>
              <a:rPr lang="en-US" sz="2000" dirty="0"/>
              <a:t>Elizabeth.Adkins@us.gt.com</a:t>
            </a:r>
          </a:p>
        </p:txBody>
      </p:sp>
      <p:sp>
        <p:nvSpPr>
          <p:cNvPr id="8" name="TextBox 7"/>
          <p:cNvSpPr txBox="1"/>
          <p:nvPr/>
        </p:nvSpPr>
        <p:spPr>
          <a:xfrm>
            <a:off x="5494629" y="1645812"/>
            <a:ext cx="3500323" cy="1323439"/>
          </a:xfrm>
          <a:prstGeom prst="rect">
            <a:avLst/>
          </a:prstGeom>
          <a:noFill/>
        </p:spPr>
        <p:txBody>
          <a:bodyPr wrap="square" rtlCol="0">
            <a:spAutoFit/>
          </a:bodyPr>
          <a:lstStyle/>
          <a:p>
            <a:r>
              <a:rPr lang="en-US" sz="2000" dirty="0"/>
              <a:t>Syed Hussaini</a:t>
            </a:r>
          </a:p>
          <a:p>
            <a:r>
              <a:rPr lang="en-US" sz="2000" dirty="0"/>
              <a:t>IT Director, Risk &amp; Compliance</a:t>
            </a:r>
          </a:p>
          <a:p>
            <a:r>
              <a:rPr lang="en-US" sz="2000" dirty="0"/>
              <a:t>Syed.Hussaini@us.gt.com</a:t>
            </a:r>
          </a:p>
        </p:txBody>
      </p:sp>
    </p:spTree>
    <p:extLst>
      <p:ext uri="{BB962C8B-B14F-4D97-AF65-F5344CB8AC3E}">
        <p14:creationId xmlns:p14="http://schemas.microsoft.com/office/powerpoint/2010/main" val="917236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nt Thornton LLP</a:t>
            </a:r>
          </a:p>
        </p:txBody>
      </p:sp>
      <p:sp>
        <p:nvSpPr>
          <p:cNvPr id="3" name="Slide Number Placeholder 2"/>
          <p:cNvSpPr>
            <a:spLocks noGrp="1"/>
          </p:cNvSpPr>
          <p:nvPr>
            <p:ph type="sldNum" sz="quarter" idx="4"/>
          </p:nvPr>
        </p:nvSpPr>
        <p:spPr/>
        <p:txBody>
          <a:bodyPr/>
          <a:lstStyle/>
          <a:p>
            <a:fld id="{0E0C512C-2A69-4D15-9349-877CDA6B8ABD}" type="slidenum">
              <a:rPr lang="en-GB" smtClean="0"/>
              <a:pPr/>
              <a:t>3</a:t>
            </a:fld>
            <a:endParaRPr lang="en-GB" dirty="0"/>
          </a:p>
        </p:txBody>
      </p:sp>
      <p:sp>
        <p:nvSpPr>
          <p:cNvPr id="4" name="TextBox 3"/>
          <p:cNvSpPr txBox="1"/>
          <p:nvPr/>
        </p:nvSpPr>
        <p:spPr>
          <a:xfrm>
            <a:off x="497434" y="1068019"/>
            <a:ext cx="8286886" cy="1384995"/>
          </a:xfrm>
          <a:prstGeom prst="rect">
            <a:avLst/>
          </a:prstGeom>
          <a:noFill/>
        </p:spPr>
        <p:txBody>
          <a:bodyPr wrap="square" rtlCol="0">
            <a:spAutoFit/>
          </a:bodyPr>
          <a:lstStyle/>
          <a:p>
            <a:pPr fontAlgn="ctr"/>
            <a:r>
              <a:rPr lang="en-US" dirty="0">
                <a:latin typeface="Arial" panose="020B0604020202020204" pitchFamily="34" charset="0"/>
                <a:cs typeface="Arial" panose="020B0604020202020204" pitchFamily="34" charset="0"/>
              </a:rPr>
              <a:t>U.S. member firm of Grant Thornton International - one of the world’s leading organizations of independent audit, tax, and advisory firms</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7434" y="3053178"/>
            <a:ext cx="1134297" cy="1134297"/>
          </a:xfrm>
          <a:prstGeom prst="rect">
            <a:avLst/>
          </a:prstGeom>
        </p:spPr>
      </p:pic>
      <p:sp>
        <p:nvSpPr>
          <p:cNvPr id="6" name="TextBox 5"/>
          <p:cNvSpPr txBox="1"/>
          <p:nvPr/>
        </p:nvSpPr>
        <p:spPr>
          <a:xfrm>
            <a:off x="1805152" y="3053178"/>
            <a:ext cx="2656489" cy="954107"/>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a:t>
            </a:r>
            <a:r>
              <a:rPr lang="en-US" smtClean="0">
                <a:latin typeface="Arial" panose="020B0604020202020204" pitchFamily="34" charset="0"/>
                <a:cs typeface="Arial" panose="020B0604020202020204" pitchFamily="34" charset="0"/>
              </a:rPr>
              <a:t>1.6 </a:t>
            </a:r>
            <a:r>
              <a:rPr lang="en-US" dirty="0">
                <a:latin typeface="Arial" panose="020B0604020202020204" pitchFamily="34" charset="0"/>
                <a:cs typeface="Arial" panose="020B0604020202020204" pitchFamily="34" charset="0"/>
              </a:rPr>
              <a:t>billion in revenue</a:t>
            </a:r>
          </a:p>
        </p:txBody>
      </p:sp>
      <p:sp>
        <p:nvSpPr>
          <p:cNvPr id="7" name="TextBox 6"/>
          <p:cNvSpPr txBox="1"/>
          <p:nvPr/>
        </p:nvSpPr>
        <p:spPr>
          <a:xfrm>
            <a:off x="5021317" y="3250642"/>
            <a:ext cx="1954925" cy="523220"/>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59 office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79172" y="3053178"/>
            <a:ext cx="1075841" cy="1075841"/>
          </a:xfrm>
          <a:prstGeom prst="rect">
            <a:avLst/>
          </a:prstGeom>
        </p:spPr>
      </p:pic>
    </p:spTree>
    <p:extLst>
      <p:ext uri="{BB962C8B-B14F-4D97-AF65-F5344CB8AC3E}">
        <p14:creationId xmlns:p14="http://schemas.microsoft.com/office/powerpoint/2010/main" val="4217091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ed Hussaini, Chief Information Security Officer</a:t>
            </a:r>
          </a:p>
        </p:txBody>
      </p:sp>
      <p:sp>
        <p:nvSpPr>
          <p:cNvPr id="3" name="Slide Number Placeholder 2"/>
          <p:cNvSpPr>
            <a:spLocks noGrp="1"/>
          </p:cNvSpPr>
          <p:nvPr>
            <p:ph type="sldNum" sz="quarter" idx="4"/>
          </p:nvPr>
        </p:nvSpPr>
        <p:spPr/>
        <p:txBody>
          <a:bodyPr/>
          <a:lstStyle/>
          <a:p>
            <a:fld id="{0E0C512C-2A69-4D15-9349-877CDA6B8ABD}" type="slidenum">
              <a:rPr lang="en-GB" smtClean="0"/>
              <a:pPr/>
              <a:t>4</a:t>
            </a:fld>
            <a:endParaRPr lang="en-GB"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074" y="1738429"/>
            <a:ext cx="1428750" cy="1428750"/>
          </a:xfrm>
          <a:prstGeom prst="rect">
            <a:avLst/>
          </a:prstGeom>
        </p:spPr>
      </p:pic>
      <p:sp>
        <p:nvSpPr>
          <p:cNvPr id="12" name="TextBox 11"/>
          <p:cNvSpPr txBox="1"/>
          <p:nvPr/>
        </p:nvSpPr>
        <p:spPr>
          <a:xfrm>
            <a:off x="2230244" y="1738429"/>
            <a:ext cx="6266985" cy="2585323"/>
          </a:xfrm>
          <a:prstGeom prst="rect">
            <a:avLst/>
          </a:prstGeom>
          <a:noFill/>
        </p:spPr>
        <p:txBody>
          <a:bodyPr wrap="square" rtlCol="0">
            <a:spAutoFit/>
          </a:bodyPr>
          <a:lstStyle/>
          <a:p>
            <a:pPr marL="457200" indent="-457200">
              <a:buFont typeface="Arial" panose="020B0604020202020204" pitchFamily="34" charset="0"/>
              <a:buChar char="•"/>
            </a:pPr>
            <a:r>
              <a:rPr lang="en-US" sz="1800" dirty="0"/>
              <a:t>Joined Grant Thornton in September 2015</a:t>
            </a:r>
          </a:p>
          <a:p>
            <a:pPr marL="457200" indent="-457200">
              <a:buFont typeface="Arial" panose="020B0604020202020204" pitchFamily="34" charset="0"/>
              <a:buChar char="•"/>
            </a:pPr>
            <a:r>
              <a:rPr lang="en-US" sz="1800" dirty="0"/>
              <a:t>Serves as CISO / Director of Cybersecurity, Risk and Compliance</a:t>
            </a:r>
          </a:p>
          <a:p>
            <a:pPr marL="457200" indent="-457200">
              <a:buFont typeface="Arial" panose="020B0604020202020204" pitchFamily="34" charset="0"/>
              <a:buChar char="•"/>
            </a:pPr>
            <a:r>
              <a:rPr lang="en-US" sz="1800" dirty="0"/>
              <a:t>Previously worked at GE, HSBC, and Motorola</a:t>
            </a:r>
          </a:p>
          <a:p>
            <a:pPr marL="457200" indent="-457200">
              <a:buFont typeface="Arial" panose="020B0604020202020204" pitchFamily="34" charset="0"/>
              <a:buChar char="•"/>
            </a:pPr>
            <a:r>
              <a:rPr lang="en-US" sz="1800" dirty="0"/>
              <a:t>Diverse background of managing cyber security needs and the related organizational change in different business and environments – banking, finance, telecommunication, manufacturing and professional services</a:t>
            </a:r>
          </a:p>
        </p:txBody>
      </p:sp>
    </p:spTree>
    <p:extLst>
      <p:ext uri="{BB962C8B-B14F-4D97-AF65-F5344CB8AC3E}">
        <p14:creationId xmlns:p14="http://schemas.microsoft.com/office/powerpoint/2010/main" val="18547325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0726" y="366587"/>
            <a:ext cx="6935749" cy="701278"/>
          </a:xfrm>
        </p:spPr>
        <p:txBody>
          <a:bodyPr/>
          <a:lstStyle/>
          <a:p>
            <a:r>
              <a:rPr lang="en-US" dirty="0"/>
              <a:t>History of teaming with Information Security</a:t>
            </a:r>
          </a:p>
        </p:txBody>
      </p:sp>
      <p:sp>
        <p:nvSpPr>
          <p:cNvPr id="3" name="Slide Number Placeholder 2"/>
          <p:cNvSpPr>
            <a:spLocks noGrp="1"/>
          </p:cNvSpPr>
          <p:nvPr>
            <p:ph type="sldNum" sz="quarter" idx="4"/>
          </p:nvPr>
        </p:nvSpPr>
        <p:spPr/>
        <p:txBody>
          <a:bodyPr/>
          <a:lstStyle/>
          <a:p>
            <a:fld id="{0E0C512C-2A69-4D15-9349-877CDA6B8ABD}" type="slidenum">
              <a:rPr lang="en-GB" smtClean="0"/>
              <a:pPr/>
              <a:t>5</a:t>
            </a:fld>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75" y="1162409"/>
            <a:ext cx="2959217" cy="970235"/>
          </a:xfrm>
          <a:prstGeom prst="rect">
            <a:avLst/>
          </a:prstGeom>
        </p:spPr>
      </p:pic>
      <p:sp>
        <p:nvSpPr>
          <p:cNvPr id="5" name="TextBox 4"/>
          <p:cNvSpPr txBox="1"/>
          <p:nvPr/>
        </p:nvSpPr>
        <p:spPr>
          <a:xfrm>
            <a:off x="3114792" y="1389226"/>
            <a:ext cx="5470634" cy="523220"/>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Collaborated on policy</a:t>
            </a:r>
          </a:p>
        </p:txBody>
      </p:sp>
      <p:pic>
        <p:nvPicPr>
          <p:cNvPr id="6" name="Picture 5"/>
          <p:cNvPicPr>
            <a:picLocks noChangeAspect="1"/>
          </p:cNvPicPr>
          <p:nvPr/>
        </p:nvPicPr>
        <p:blipFill>
          <a:blip r:embed="rId3"/>
          <a:stretch>
            <a:fillRect/>
          </a:stretch>
        </p:blipFill>
        <p:spPr>
          <a:xfrm>
            <a:off x="672647" y="2305248"/>
            <a:ext cx="1078405" cy="820733"/>
          </a:xfrm>
          <a:prstGeom prst="rect">
            <a:avLst/>
          </a:prstGeom>
        </p:spPr>
      </p:pic>
      <p:sp>
        <p:nvSpPr>
          <p:cNvPr id="7" name="TextBox 6"/>
          <p:cNvSpPr txBox="1"/>
          <p:nvPr/>
        </p:nvSpPr>
        <p:spPr>
          <a:xfrm>
            <a:off x="3085703" y="2454005"/>
            <a:ext cx="5470634" cy="523220"/>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Led IG application assessments</a:t>
            </a:r>
          </a:p>
        </p:txBody>
      </p:sp>
      <p:pic>
        <p:nvPicPr>
          <p:cNvPr id="8" name="Picture 7"/>
          <p:cNvPicPr>
            <a:picLocks noChangeAspect="1"/>
          </p:cNvPicPr>
          <p:nvPr/>
        </p:nvPicPr>
        <p:blipFill>
          <a:blip r:embed="rId4"/>
          <a:stretch>
            <a:fillRect/>
          </a:stretch>
        </p:blipFill>
        <p:spPr>
          <a:xfrm>
            <a:off x="361045" y="3545419"/>
            <a:ext cx="2689583" cy="659037"/>
          </a:xfrm>
          <a:prstGeom prst="rect">
            <a:avLst/>
          </a:prstGeom>
        </p:spPr>
      </p:pic>
      <p:sp>
        <p:nvSpPr>
          <p:cNvPr id="9" name="TextBox 8"/>
          <p:cNvSpPr txBox="1"/>
          <p:nvPr/>
        </p:nvSpPr>
        <p:spPr>
          <a:xfrm>
            <a:off x="3134186" y="3613327"/>
            <a:ext cx="5470634" cy="523220"/>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Shared goals/initiatives</a:t>
            </a:r>
          </a:p>
        </p:txBody>
      </p:sp>
      <p:pic>
        <p:nvPicPr>
          <p:cNvPr id="1026" name="Picture 2" descr="Elizabeth_Adkins_C-7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2466" y="234870"/>
            <a:ext cx="743247" cy="1016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6922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5512" y="400050"/>
            <a:ext cx="6785173" cy="701278"/>
          </a:xfrm>
        </p:spPr>
        <p:txBody>
          <a:bodyPr/>
          <a:lstStyle/>
          <a:p>
            <a:r>
              <a:rPr lang="en-US" dirty="0"/>
              <a:t>History of teaming with Information Governance</a:t>
            </a:r>
          </a:p>
        </p:txBody>
      </p:sp>
      <p:sp>
        <p:nvSpPr>
          <p:cNvPr id="3" name="Content Placeholder 2"/>
          <p:cNvSpPr>
            <a:spLocks noGrp="1"/>
          </p:cNvSpPr>
          <p:nvPr>
            <p:ph idx="1"/>
          </p:nvPr>
        </p:nvSpPr>
        <p:spPr/>
        <p:txBody>
          <a:bodyPr/>
          <a:lstStyle/>
          <a:p>
            <a:pPr marL="914400" lvl="1" indent="-457200">
              <a:spcBef>
                <a:spcPts val="0"/>
              </a:spcBef>
              <a:buFont typeface="Arial" panose="020B0604020202020204" pitchFamily="34" charset="0"/>
              <a:buChar char="•"/>
            </a:pPr>
            <a:r>
              <a:rPr lang="en-US" sz="2400" dirty="0"/>
              <a:t>All projects reviewed up front per PMO</a:t>
            </a:r>
          </a:p>
          <a:p>
            <a:pPr lvl="2">
              <a:spcBef>
                <a:spcPts val="0"/>
              </a:spcBef>
              <a:buFont typeface="Courier New" panose="02070309020205020404" pitchFamily="49" charset="0"/>
              <a:buChar char="o"/>
            </a:pPr>
            <a:r>
              <a:rPr lang="en-US" sz="2000" dirty="0"/>
              <a:t>Architecture</a:t>
            </a:r>
          </a:p>
          <a:p>
            <a:pPr lvl="2">
              <a:spcBef>
                <a:spcPts val="0"/>
              </a:spcBef>
              <a:buFont typeface="Courier New" panose="02070309020205020404" pitchFamily="49" charset="0"/>
              <a:buChar char="o"/>
            </a:pPr>
            <a:r>
              <a:rPr lang="en-US" sz="2000" dirty="0"/>
              <a:t>Information Governance</a:t>
            </a:r>
          </a:p>
          <a:p>
            <a:pPr lvl="2">
              <a:spcBef>
                <a:spcPts val="0"/>
              </a:spcBef>
              <a:buFont typeface="Courier New" panose="02070309020205020404" pitchFamily="49" charset="0"/>
              <a:buChar char="o"/>
            </a:pPr>
            <a:r>
              <a:rPr lang="en-US" sz="2000" dirty="0"/>
              <a:t>Information Security</a:t>
            </a:r>
          </a:p>
          <a:p>
            <a:pPr lvl="2">
              <a:spcBef>
                <a:spcPts val="0"/>
              </a:spcBef>
              <a:buFont typeface="Courier New" panose="02070309020205020404" pitchFamily="49" charset="0"/>
              <a:buChar char="o"/>
            </a:pPr>
            <a:r>
              <a:rPr lang="en-US" sz="2000" dirty="0"/>
              <a:t>Legal</a:t>
            </a:r>
          </a:p>
          <a:p>
            <a:pPr marL="914400" lvl="1" indent="-457200">
              <a:spcBef>
                <a:spcPts val="0"/>
              </a:spcBef>
              <a:buFont typeface="Arial" panose="020B0604020202020204" pitchFamily="34" charset="0"/>
              <a:buChar char="•"/>
            </a:pPr>
            <a:r>
              <a:rPr lang="en-US" sz="2400" dirty="0"/>
              <a:t>Approval needed by PMs to proceed; opt out</a:t>
            </a:r>
          </a:p>
          <a:p>
            <a:pPr marL="914400" lvl="1" indent="-457200">
              <a:spcBef>
                <a:spcPts val="0"/>
              </a:spcBef>
              <a:buFont typeface="Arial" panose="020B0604020202020204" pitchFamily="34" charset="0"/>
              <a:buChar char="•"/>
            </a:pPr>
            <a:r>
              <a:rPr lang="en-US" sz="2400" dirty="0"/>
              <a:t>Dynamic/static security testing</a:t>
            </a:r>
          </a:p>
          <a:p>
            <a:pPr lvl="2">
              <a:spcBef>
                <a:spcPts val="0"/>
              </a:spcBef>
              <a:buFont typeface="Courier New" panose="02070309020205020404" pitchFamily="49" charset="0"/>
              <a:buChar char="o"/>
            </a:pPr>
            <a:r>
              <a:rPr lang="en-US" sz="2000" dirty="0"/>
              <a:t>Before project go-live</a:t>
            </a:r>
          </a:p>
          <a:p>
            <a:pPr lvl="2">
              <a:spcBef>
                <a:spcPts val="0"/>
              </a:spcBef>
              <a:buFont typeface="Courier New" panose="02070309020205020404" pitchFamily="49" charset="0"/>
              <a:buChar char="o"/>
            </a:pPr>
            <a:r>
              <a:rPr lang="en-US" sz="2000" dirty="0"/>
              <a:t>Periodic testing</a:t>
            </a:r>
            <a:endParaRPr lang="en-US" sz="2000" dirty="0">
              <a:cs typeface="Arial"/>
            </a:endParaRPr>
          </a:p>
          <a:p>
            <a:endParaRPr lang="en-US" sz="2400" dirty="0"/>
          </a:p>
        </p:txBody>
      </p:sp>
      <p:sp>
        <p:nvSpPr>
          <p:cNvPr id="4" name="Slide Number Placeholder 3"/>
          <p:cNvSpPr>
            <a:spLocks noGrp="1"/>
          </p:cNvSpPr>
          <p:nvPr>
            <p:ph type="sldNum" sz="quarter" idx="4"/>
          </p:nvPr>
        </p:nvSpPr>
        <p:spPr/>
        <p:txBody>
          <a:bodyPr/>
          <a:lstStyle/>
          <a:p>
            <a:fld id="{0E0C512C-2A69-4D15-9349-877CDA6B8ABD}" type="slidenum">
              <a:rPr lang="en-GB" smtClean="0"/>
              <a:pPr/>
              <a:t>6</a:t>
            </a:fld>
            <a:endParaRPr lang="en-GB"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1" y="400050"/>
            <a:ext cx="980601" cy="980601"/>
          </a:xfrm>
          <a:prstGeom prst="rect">
            <a:avLst/>
          </a:prstGeom>
        </p:spPr>
      </p:pic>
      <p:sp>
        <p:nvSpPr>
          <p:cNvPr id="6" name="AutoShape 2" descr="Image result for ge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Image result for ge 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Picture 8"/>
          <p:cNvPicPr>
            <a:picLocks noChangeAspect="1"/>
          </p:cNvPicPr>
          <p:nvPr/>
        </p:nvPicPr>
        <p:blipFill>
          <a:blip r:embed="rId3"/>
          <a:stretch>
            <a:fillRect/>
          </a:stretch>
        </p:blipFill>
        <p:spPr>
          <a:xfrm>
            <a:off x="7070598" y="1319929"/>
            <a:ext cx="1543050" cy="1581150"/>
          </a:xfrm>
          <a:prstGeom prst="rect">
            <a:avLst/>
          </a:prstGeom>
        </p:spPr>
      </p:pic>
    </p:spTree>
    <p:extLst>
      <p:ext uri="{BB962C8B-B14F-4D97-AF65-F5344CB8AC3E}">
        <p14:creationId xmlns:p14="http://schemas.microsoft.com/office/powerpoint/2010/main" val="8580185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Governance</a:t>
            </a:r>
          </a:p>
        </p:txBody>
      </p:sp>
      <p:sp>
        <p:nvSpPr>
          <p:cNvPr id="3" name="Slide Number Placeholder 2"/>
          <p:cNvSpPr>
            <a:spLocks noGrp="1"/>
          </p:cNvSpPr>
          <p:nvPr>
            <p:ph type="sldNum" sz="quarter" idx="4"/>
          </p:nvPr>
        </p:nvSpPr>
        <p:spPr/>
        <p:txBody>
          <a:bodyPr/>
          <a:lstStyle/>
          <a:p>
            <a:fld id="{0E0C512C-2A69-4D15-9349-877CDA6B8ABD}" type="slidenum">
              <a:rPr lang="en-GB" smtClean="0"/>
              <a:pPr/>
              <a:t>7</a:t>
            </a:fld>
            <a:endParaRPr lang="en-GB" dirty="0"/>
          </a:p>
        </p:txBody>
      </p:sp>
      <p:sp>
        <p:nvSpPr>
          <p:cNvPr id="4" name="TextBox 3"/>
          <p:cNvSpPr txBox="1"/>
          <p:nvPr/>
        </p:nvSpPr>
        <p:spPr>
          <a:xfrm>
            <a:off x="157655" y="1217791"/>
            <a:ext cx="2727435" cy="2677656"/>
          </a:xfrm>
          <a:prstGeom prst="rect">
            <a:avLst/>
          </a:prstGeom>
          <a:noFill/>
        </p:spPr>
        <p:txBody>
          <a:bodyPr wrap="square" rtlCol="0" anchor="t">
            <a:spAutoFit/>
          </a:bodyPr>
          <a:lstStyle/>
          <a:p>
            <a:pPr marL="342900" indent="-457200" fontAlgn="ctr">
              <a:buFont typeface="Arial" panose="020B0604020202020204" pitchFamily="34" charset="0"/>
              <a:buChar char="•"/>
            </a:pPr>
            <a:r>
              <a:rPr lang="en-US" dirty="0">
                <a:latin typeface="Arial" panose="020B0604020202020204" pitchFamily="34" charset="0"/>
                <a:cs typeface="Arial" panose="020B0604020202020204" pitchFamily="34" charset="0"/>
              </a:rPr>
              <a:t>Joined Grant Thornton January 2015</a:t>
            </a:r>
            <a:endParaRPr lang="en-US">
              <a:cs typeface="Arial"/>
            </a:endParaRPr>
          </a:p>
          <a:p>
            <a:pPr marL="457200" indent="-457200" fontAlgn="ctr">
              <a:buFont typeface="Arial" panose="020B0604020202020204" pitchFamily="34" charset="0"/>
              <a:buChar char="•"/>
            </a:pPr>
            <a:r>
              <a:rPr lang="en-US" dirty="0">
                <a:latin typeface="Arial" panose="020B0604020202020204" pitchFamily="34" charset="0"/>
                <a:cs typeface="Arial" panose="020B0604020202020204" pitchFamily="34" charset="0"/>
              </a:rPr>
              <a:t>Activities in first 18 months</a:t>
            </a:r>
          </a:p>
        </p:txBody>
      </p:sp>
      <p:graphicFrame>
        <p:nvGraphicFramePr>
          <p:cNvPr id="5" name="Diagram 4"/>
          <p:cNvGraphicFramePr/>
          <p:nvPr>
            <p:extLst>
              <p:ext uri="{D42A27DB-BD31-4B8C-83A1-F6EECF244321}">
                <p14:modId xmlns:p14="http://schemas.microsoft.com/office/powerpoint/2010/main" val="2432134516"/>
              </p:ext>
            </p:extLst>
          </p:nvPr>
        </p:nvGraphicFramePr>
        <p:xfrm>
          <a:off x="2745828" y="701278"/>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82452" y="903431"/>
            <a:ext cx="862992" cy="862992"/>
          </a:xfrm>
          <a:prstGeom prst="rect">
            <a:avLst/>
          </a:prstGeom>
        </p:spPr>
      </p:pic>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16680" y="1824102"/>
            <a:ext cx="886070" cy="886070"/>
          </a:xfrm>
          <a:prstGeom prst="rect">
            <a:avLst/>
          </a:prstGeom>
        </p:spPr>
      </p:pic>
      <p:pic>
        <p:nvPicPr>
          <p:cNvPr id="8" name="Pictur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16680" y="2748091"/>
            <a:ext cx="886070" cy="886070"/>
          </a:xfrm>
          <a:prstGeom prst="rect">
            <a:avLst/>
          </a:prstGeom>
        </p:spPr>
      </p:pic>
      <p:pic>
        <p:nvPicPr>
          <p:cNvPr id="9" name="Picture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82452" y="3717541"/>
            <a:ext cx="838944" cy="838944"/>
          </a:xfrm>
          <a:prstGeom prst="rect">
            <a:avLst/>
          </a:prstGeom>
        </p:spPr>
      </p:pic>
    </p:spTree>
    <p:extLst>
      <p:ext uri="{BB962C8B-B14F-4D97-AF65-F5344CB8AC3E}">
        <p14:creationId xmlns:p14="http://schemas.microsoft.com/office/powerpoint/2010/main" val="39394736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Security</a:t>
            </a:r>
          </a:p>
        </p:txBody>
      </p:sp>
      <p:sp>
        <p:nvSpPr>
          <p:cNvPr id="3" name="Slide Number Placeholder 2"/>
          <p:cNvSpPr>
            <a:spLocks noGrp="1"/>
          </p:cNvSpPr>
          <p:nvPr>
            <p:ph type="sldNum" sz="quarter" idx="4"/>
          </p:nvPr>
        </p:nvSpPr>
        <p:spPr/>
        <p:txBody>
          <a:bodyPr/>
          <a:lstStyle/>
          <a:p>
            <a:fld id="{0E0C512C-2A69-4D15-9349-877CDA6B8ABD}" type="slidenum">
              <a:rPr lang="en-GB" smtClean="0"/>
              <a:pPr/>
              <a:t>8</a:t>
            </a:fld>
            <a:endParaRPr lang="en-GB" dirty="0"/>
          </a:p>
        </p:txBody>
      </p:sp>
      <p:sp>
        <p:nvSpPr>
          <p:cNvPr id="4" name="TextBox 3"/>
          <p:cNvSpPr txBox="1"/>
          <p:nvPr/>
        </p:nvSpPr>
        <p:spPr>
          <a:xfrm>
            <a:off x="497434" y="901762"/>
            <a:ext cx="7929676" cy="3539430"/>
          </a:xfrm>
          <a:prstGeom prst="rect">
            <a:avLst/>
          </a:prstGeom>
          <a:noFill/>
        </p:spPr>
        <p:txBody>
          <a:bodyPr wrap="square" rtlCol="0" anchor="t">
            <a:spAutoFit/>
          </a:bodyPr>
          <a:lstStyle/>
          <a:p>
            <a:pPr marL="342900" indent="-457200" fontAlgn="ctr">
              <a:buFont typeface="Arial" panose="020B0604020202020204" pitchFamily="34" charset="0"/>
              <a:buChar char="•"/>
            </a:pPr>
            <a:r>
              <a:rPr lang="en-US" dirty="0"/>
              <a:t>Joined Grant Thornton September 2015</a:t>
            </a:r>
          </a:p>
          <a:p>
            <a:pPr marL="342900" indent="-457200" fontAlgn="ctr">
              <a:buFont typeface="Arial" panose="020B0604020202020204" pitchFamily="34" charset="0"/>
              <a:buChar char="•"/>
            </a:pPr>
            <a:r>
              <a:rPr lang="en-US" dirty="0"/>
              <a:t>During the first 18 months</a:t>
            </a:r>
            <a:endParaRPr lang="en-US" dirty="0">
              <a:cs typeface="Arial"/>
            </a:endParaRPr>
          </a:p>
          <a:p>
            <a:pPr marL="800100" lvl="1" indent="-457200" fontAlgn="ctr">
              <a:buFont typeface="Courier New" panose="02070309020205020404" pitchFamily="49" charset="0"/>
              <a:buChar char="o"/>
            </a:pPr>
            <a:r>
              <a:rPr lang="en-US" sz="2400" dirty="0"/>
              <a:t>Conducted ISO 27001 assessment</a:t>
            </a:r>
          </a:p>
          <a:p>
            <a:pPr marL="800100" lvl="1" indent="-457200" fontAlgn="ctr">
              <a:buFont typeface="Courier New" panose="02070309020205020404" pitchFamily="49" charset="0"/>
              <a:buChar char="o"/>
            </a:pPr>
            <a:r>
              <a:rPr lang="en-US" sz="2400" dirty="0"/>
              <a:t>Created Information Security roadmap</a:t>
            </a:r>
          </a:p>
          <a:p>
            <a:pPr marL="800100" lvl="1" indent="-457200" fontAlgn="ctr">
              <a:buFont typeface="Courier New" panose="02070309020205020404" pitchFamily="49" charset="0"/>
              <a:buChar char="o"/>
            </a:pPr>
            <a:r>
              <a:rPr lang="en-US" sz="2400" dirty="0"/>
              <a:t>Revamped Information Security policy</a:t>
            </a:r>
          </a:p>
          <a:p>
            <a:pPr marL="800100" lvl="1" indent="-457200" fontAlgn="ctr">
              <a:buFont typeface="Courier New" panose="02070309020205020404" pitchFamily="49" charset="0"/>
              <a:buChar char="o"/>
            </a:pPr>
            <a:r>
              <a:rPr lang="en-US" sz="2400" dirty="0"/>
              <a:t>Achieved ISO 27001 certification</a:t>
            </a:r>
          </a:p>
          <a:p>
            <a:pPr marL="800100" lvl="1" indent="-457200" fontAlgn="ctr">
              <a:buFont typeface="Courier New" panose="02070309020205020404" pitchFamily="49" charset="0"/>
              <a:buChar char="o"/>
            </a:pPr>
            <a:r>
              <a:rPr lang="en-US" sz="2400" dirty="0"/>
              <a:t>Managed Security Operations Center (SOC) and related processes</a:t>
            </a:r>
          </a:p>
          <a:p>
            <a:pPr marL="800100" lvl="1" indent="-457200" fontAlgn="ctr">
              <a:buFont typeface="Courier New" panose="02070309020205020404" pitchFamily="49" charset="0"/>
              <a:buChar char="o"/>
            </a:pPr>
            <a:r>
              <a:rPr lang="en-US" sz="2400" dirty="0"/>
              <a:t>Additional security technologies/processes</a:t>
            </a:r>
          </a:p>
        </p:txBody>
      </p:sp>
    </p:spTree>
    <p:extLst>
      <p:ext uri="{BB962C8B-B14F-4D97-AF65-F5344CB8AC3E}">
        <p14:creationId xmlns:p14="http://schemas.microsoft.com/office/powerpoint/2010/main" val="8421637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roach to IG workshops</a:t>
            </a:r>
          </a:p>
        </p:txBody>
      </p:sp>
      <p:sp>
        <p:nvSpPr>
          <p:cNvPr id="4" name="Slide Number Placeholder 3"/>
          <p:cNvSpPr>
            <a:spLocks noGrp="1"/>
          </p:cNvSpPr>
          <p:nvPr>
            <p:ph type="sldNum" sz="quarter" idx="4"/>
          </p:nvPr>
        </p:nvSpPr>
        <p:spPr/>
        <p:txBody>
          <a:bodyPr/>
          <a:lstStyle/>
          <a:p>
            <a:fld id="{0E0C512C-2A69-4D15-9349-877CDA6B8ABD}" type="slidenum">
              <a:rPr lang="en-GB" smtClean="0"/>
              <a:pPr/>
              <a:t>9</a:t>
            </a:fld>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271175029"/>
              </p:ext>
            </p:extLst>
          </p:nvPr>
        </p:nvGraphicFramePr>
        <p:xfrm>
          <a:off x="457200" y="1428750"/>
          <a:ext cx="8229600" cy="31178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932688" y="1250899"/>
            <a:ext cx="7278624" cy="954107"/>
          </a:xfrm>
          <a:prstGeom prst="rect">
            <a:avLst/>
          </a:prstGeom>
          <a:noFill/>
        </p:spPr>
        <p:txBody>
          <a:bodyPr wrap="square" rtlCol="0">
            <a:spAutoFit/>
          </a:bodyPr>
          <a:lstStyle/>
          <a:p>
            <a:r>
              <a:rPr lang="en-US" dirty="0"/>
              <a:t>Met with 83 individuals representing 43 lines of business</a:t>
            </a:r>
          </a:p>
        </p:txBody>
      </p:sp>
    </p:spTree>
    <p:extLst>
      <p:ext uri="{BB962C8B-B14F-4D97-AF65-F5344CB8AC3E}">
        <p14:creationId xmlns:p14="http://schemas.microsoft.com/office/powerpoint/2010/main" val="1393040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Scc9_w_SbUGmcjMDbOvr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8T.qXM56yUmTKlzNupVf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1ie_7RBraEm.oCvY.nix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i8hGDp9RIESvulWDCMUy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e0jEgzZ0SKUyl0BEj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1rFaYPYQZk.qk5KIRSwXGg"/>
</p:tagLst>
</file>

<file path=ppt/theme/theme1.xml><?xml version="1.0" encoding="utf-8"?>
<a:theme xmlns:a="http://schemas.openxmlformats.org/drawingml/2006/main" name="1_Default Design">
  <a:themeElements>
    <a:clrScheme name="Custom 1">
      <a:dk1>
        <a:sysClr val="windowText" lastClr="000000"/>
      </a:dk1>
      <a:lt1>
        <a:sysClr val="window" lastClr="FFFFFF"/>
      </a:lt1>
      <a:dk2>
        <a:srgbClr val="75787B"/>
      </a:dk2>
      <a:lt2>
        <a:srgbClr val="75787B"/>
      </a:lt2>
      <a:accent1>
        <a:srgbClr val="4F2D7F"/>
      </a:accent1>
      <a:accent2>
        <a:srgbClr val="C8BEAF"/>
      </a:accent2>
      <a:accent3>
        <a:srgbClr val="00A7B5"/>
      </a:accent3>
      <a:accent4>
        <a:srgbClr val="FF7D1E"/>
      </a:accent4>
      <a:accent5>
        <a:srgbClr val="9BD732"/>
      </a:accent5>
      <a:accent6>
        <a:srgbClr val="E92841"/>
      </a:accent6>
      <a:hlink>
        <a:srgbClr val="000000"/>
      </a:hlink>
      <a:folHlink>
        <a:srgbClr val="000000"/>
      </a:folHlink>
    </a:clrScheme>
    <a:fontScheme name="Grant Thornton 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1F88B143-75BC-4CA1-8A8D-70DC266CEA0B}" vid="{A743B53F-F89B-4026-8C31-95428CA89A3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10C2EC6181F1C4682A5C13D620F92B0" ma:contentTypeVersion="0" ma:contentTypeDescription="Create a new document." ma:contentTypeScope="" ma:versionID="c39a291ebc3e4be6d15b68956b3209a9">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4B2DC9-D9CF-43F1-B31F-E1D7013A7BA7}">
  <ds:schemaRefs>
    <ds:schemaRef ds:uri="http://schemas.microsoft.com/sharepoint/v3/contenttype/forms"/>
  </ds:schemaRefs>
</ds:datastoreItem>
</file>

<file path=customXml/itemProps2.xml><?xml version="1.0" encoding="utf-8"?>
<ds:datastoreItem xmlns:ds="http://schemas.openxmlformats.org/officeDocument/2006/customXml" ds:itemID="{6DC2114C-C9BD-4A41-8BBE-96C6A8233868}">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DF9B5F61-AC5F-48E9-8E04-8D96878950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707</TotalTime>
  <Words>957</Words>
  <Application>Microsoft Office PowerPoint</Application>
  <PresentationFormat>On-screen Show (16:9)</PresentationFormat>
  <Paragraphs>218</Paragraphs>
  <Slides>24</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4</vt:i4>
      </vt:variant>
    </vt:vector>
  </HeadingPairs>
  <TitlesOfParts>
    <vt:vector size="31" baseType="lpstr">
      <vt:lpstr>Arial</vt:lpstr>
      <vt:lpstr>Arial Narrow</vt:lpstr>
      <vt:lpstr>Courier New</vt:lpstr>
      <vt:lpstr>Garamond</vt:lpstr>
      <vt:lpstr>GT Walsheim Medium</vt:lpstr>
      <vt:lpstr>Times New Roman</vt:lpstr>
      <vt:lpstr>1_Default Design</vt:lpstr>
      <vt:lpstr>Keeping Data Safe: The need for Information Governance and Information Security to work together  ARMA NOVA Elizabeth W. Adkins, CRM, IGP, CA Emeritus March 28, 2018</vt:lpstr>
      <vt:lpstr>Agenda</vt:lpstr>
      <vt:lpstr>Grant Thornton LLP</vt:lpstr>
      <vt:lpstr>Syed Hussaini, Chief Information Security Officer</vt:lpstr>
      <vt:lpstr>History of teaming with Information Security</vt:lpstr>
      <vt:lpstr>History of teaming with Information Governance</vt:lpstr>
      <vt:lpstr>Information Governance</vt:lpstr>
      <vt:lpstr>Information Security</vt:lpstr>
      <vt:lpstr>Approach to IG workshops</vt:lpstr>
      <vt:lpstr>Focus of IG workshop questions</vt:lpstr>
      <vt:lpstr>Information Security c-level attention</vt:lpstr>
      <vt:lpstr>Collaboration</vt:lpstr>
      <vt:lpstr>Collaboration and the firm’s values</vt:lpstr>
      <vt:lpstr>Components of Information Governance at Grant Thornton</vt:lpstr>
      <vt:lpstr>Information Governance – coalition of ownership</vt:lpstr>
      <vt:lpstr>Policies, processes, and controls</vt:lpstr>
      <vt:lpstr>Information Security &amp; technology usage policy</vt:lpstr>
      <vt:lpstr>Information classification policy</vt:lpstr>
      <vt:lpstr>Information classifications and examples</vt:lpstr>
      <vt:lpstr>Implementation approach</vt:lpstr>
      <vt:lpstr>PowerPoint Presentation</vt:lpstr>
      <vt:lpstr>DLP collaboration</vt:lpstr>
      <vt:lpstr>Conclusion</vt:lpstr>
      <vt:lpstr>Questions?</vt:lpstr>
    </vt:vector>
  </TitlesOfParts>
  <Company>Grant Thornton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eping Data Safe: The Need for Information Governance and Information Security to Work Together  MER Conference Elizabeth W. Adkins and Syed Hussaini May 8, 2018</dc:title>
  <dc:creator>Adkins, Elizabeth</dc:creator>
  <cp:lastModifiedBy>Adkins, Elizabeth</cp:lastModifiedBy>
  <cp:revision>44</cp:revision>
  <dcterms:created xsi:type="dcterms:W3CDTF">2018-03-20T20:35:31Z</dcterms:created>
  <dcterms:modified xsi:type="dcterms:W3CDTF">2018-03-28T14:5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GT Templates Version">
    <vt:lpwstr>1.0</vt:lpwstr>
  </property>
  <property fmtid="{D5CDD505-2E9C-101B-9397-08002B2CF9AE}" pid="3" name="ContentTypeId">
    <vt:lpwstr>0x010100A10C2EC6181F1C4682A5C13D620F92B0</vt:lpwstr>
  </property>
</Properties>
</file>